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2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3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4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41.xml" ContentType="application/vnd.openxmlformats-officedocument.presentationml.tag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9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2029" r:id="rId10"/>
    <p:sldId id="2080" r:id="rId11"/>
    <p:sldId id="2102" r:id="rId12"/>
    <p:sldId id="1945" r:id="rId13"/>
    <p:sldId id="1962" r:id="rId14"/>
    <p:sldId id="1994" r:id="rId15"/>
    <p:sldId id="1996" r:id="rId16"/>
    <p:sldId id="2030" r:id="rId17"/>
    <p:sldId id="2082" r:id="rId18"/>
    <p:sldId id="2047" r:id="rId19"/>
    <p:sldId id="2100" r:id="rId20"/>
    <p:sldId id="2104" r:id="rId21"/>
    <p:sldId id="2105" r:id="rId22"/>
    <p:sldId id="2106" r:id="rId23"/>
    <p:sldId id="2107" r:id="rId24"/>
    <p:sldId id="2108" r:id="rId25"/>
    <p:sldId id="2109" r:id="rId26"/>
    <p:sldId id="2110" r:id="rId27"/>
    <p:sldId id="2111" r:id="rId28"/>
    <p:sldId id="2112" r:id="rId29"/>
    <p:sldId id="2113" r:id="rId30"/>
    <p:sldId id="2114" r:id="rId31"/>
    <p:sldId id="2115" r:id="rId32"/>
    <p:sldId id="2116" r:id="rId33"/>
    <p:sldId id="2117" r:id="rId34"/>
    <p:sldId id="2118" r:id="rId35"/>
    <p:sldId id="1942" r:id="rId36"/>
    <p:sldId id="1474" r:id="rId37"/>
    <p:sldId id="1481" r:id="rId38"/>
    <p:sldId id="1482" r:id="rId39"/>
    <p:sldId id="1475" r:id="rId40"/>
    <p:sldId id="1483" r:id="rId41"/>
    <p:sldId id="1923" r:id="rId42"/>
    <p:sldId id="1476" r:id="rId43"/>
    <p:sldId id="1523" r:id="rId44"/>
    <p:sldId id="1524" r:id="rId45"/>
    <p:sldId id="1595" r:id="rId46"/>
    <p:sldId id="1639" r:id="rId47"/>
    <p:sldId id="1802" r:id="rId48"/>
    <p:sldId id="1829" r:id="rId49"/>
    <p:sldId id="1823" r:id="rId50"/>
    <p:sldId id="1845" r:id="rId51"/>
    <p:sldId id="1864" r:id="rId52"/>
    <p:sldId id="1866" r:id="rId53"/>
    <p:sldId id="1886" r:id="rId54"/>
    <p:sldId id="1528" r:id="rId55"/>
    <p:sldId id="1530" r:id="rId56"/>
    <p:sldId id="1571" r:id="rId57"/>
    <p:sldId id="1572" r:id="rId58"/>
    <p:sldId id="1596" r:id="rId59"/>
    <p:sldId id="1615" r:id="rId60"/>
    <p:sldId id="1617" r:id="rId61"/>
    <p:sldId id="1641" r:id="rId62"/>
    <p:sldId id="1784" r:id="rId63"/>
    <p:sldId id="1804" r:id="rId64"/>
    <p:sldId id="1888" r:id="rId65"/>
    <p:sldId id="1907" r:id="rId66"/>
    <p:sldId id="1592" r:id="rId67"/>
    <p:sldId id="1593" r:id="rId68"/>
  </p:sldIdLst>
  <p:sldSz cx="12192000" cy="6858000"/>
  <p:notesSz cx="6858000" cy="9144000"/>
  <p:custDataLst>
    <p:tags r:id="rId7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6" autoAdjust="0"/>
    <p:restoredTop sz="96400" autoAdjust="0"/>
  </p:normalViewPr>
  <p:slideViewPr>
    <p:cSldViewPr snapToGrid="0">
      <p:cViewPr>
        <p:scale>
          <a:sx n="100" d="100"/>
          <a:sy n="100" d="100"/>
        </p:scale>
        <p:origin x="936" y="34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555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8198056997769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D$1:$CY$1</c:f>
              <c:strCache>
                <c:ptCount val="100"/>
                <c:pt idx="0">
                  <c:v>11.5.–17.5.</c:v>
                </c:pt>
                <c:pt idx="1">
                  <c:v>18.5.–24.5.</c:v>
                </c:pt>
                <c:pt idx="2">
                  <c:v>25.5.–31.5.</c:v>
                </c:pt>
                <c:pt idx="3">
                  <c:v>1.6.–7.6.</c:v>
                </c:pt>
                <c:pt idx="4">
                  <c:v>8.6.–14.6.</c:v>
                </c:pt>
                <c:pt idx="5">
                  <c:v>15.6.–21.6.</c:v>
                </c:pt>
                <c:pt idx="6">
                  <c:v>22.6.–28.6.</c:v>
                </c:pt>
                <c:pt idx="7">
                  <c:v>29.6.–5.7.</c:v>
                </c:pt>
                <c:pt idx="8">
                  <c:v>6.7.–12.7.</c:v>
                </c:pt>
                <c:pt idx="9">
                  <c:v>13.7.–19.7.</c:v>
                </c:pt>
                <c:pt idx="10">
                  <c:v>20.7.–26.7.</c:v>
                </c:pt>
                <c:pt idx="11">
                  <c:v>27.7.–2.8.</c:v>
                </c:pt>
                <c:pt idx="12">
                  <c:v>3.8.–9.8.</c:v>
                </c:pt>
                <c:pt idx="13">
                  <c:v>10.8.–16.8.</c:v>
                </c:pt>
                <c:pt idx="14">
                  <c:v>17.8.–23.8.</c:v>
                </c:pt>
                <c:pt idx="15">
                  <c:v>24.8.–30.8.</c:v>
                </c:pt>
                <c:pt idx="16">
                  <c:v>31.8.–6.9.</c:v>
                </c:pt>
                <c:pt idx="17">
                  <c:v>7.9.–13.9.</c:v>
                </c:pt>
                <c:pt idx="18">
                  <c:v>14.9.–20.9.</c:v>
                </c:pt>
                <c:pt idx="19">
                  <c:v>21.9.–27.9.</c:v>
                </c:pt>
                <c:pt idx="20">
                  <c:v>28.9.–4.10.</c:v>
                </c:pt>
                <c:pt idx="21">
                  <c:v>5.10.–11.10.</c:v>
                </c:pt>
                <c:pt idx="22">
                  <c:v>12.10.–18.10.</c:v>
                </c:pt>
                <c:pt idx="23">
                  <c:v>19.10.–25.10.</c:v>
                </c:pt>
                <c:pt idx="24">
                  <c:v>26.10.–1.11.</c:v>
                </c:pt>
                <c:pt idx="25">
                  <c:v>2.11.–8.11.</c:v>
                </c:pt>
                <c:pt idx="26">
                  <c:v>9.11.–15.11.</c:v>
                </c:pt>
                <c:pt idx="27">
                  <c:v>16.11.–22.11.</c:v>
                </c:pt>
                <c:pt idx="28">
                  <c:v>23.11.–29.11.</c:v>
                </c:pt>
                <c:pt idx="29">
                  <c:v>30.11.–6.12.</c:v>
                </c:pt>
                <c:pt idx="30">
                  <c:v>7.12.–13.12.</c:v>
                </c:pt>
                <c:pt idx="31">
                  <c:v>14.12.–20.12.</c:v>
                </c:pt>
                <c:pt idx="32">
                  <c:v>21.12.–27.12.</c:v>
                </c:pt>
                <c:pt idx="33">
                  <c:v>28.12.–3.1.</c:v>
                </c:pt>
                <c:pt idx="34">
                  <c:v>4.1.–10.1.</c:v>
                </c:pt>
                <c:pt idx="35">
                  <c:v>11.1.–17.1.</c:v>
                </c:pt>
                <c:pt idx="36">
                  <c:v>18.1.–24.1.</c:v>
                </c:pt>
                <c:pt idx="37">
                  <c:v>25.1.–31.1.</c:v>
                </c:pt>
                <c:pt idx="38">
                  <c:v>1.2.–7.2.</c:v>
                </c:pt>
                <c:pt idx="39">
                  <c:v>8.2.–14.2.</c:v>
                </c:pt>
                <c:pt idx="40">
                  <c:v>15.2.–21.2.</c:v>
                </c:pt>
                <c:pt idx="41">
                  <c:v>22.2.–28.2.</c:v>
                </c:pt>
                <c:pt idx="42">
                  <c:v>1.3.–7.3.</c:v>
                </c:pt>
                <c:pt idx="43">
                  <c:v>8.3.–14.3.</c:v>
                </c:pt>
                <c:pt idx="44">
                  <c:v>15.3.–21.3.</c:v>
                </c:pt>
                <c:pt idx="45">
                  <c:v>22.3.–28.3.</c:v>
                </c:pt>
                <c:pt idx="46">
                  <c:v>29.3.–4.4.</c:v>
                </c:pt>
                <c:pt idx="47">
                  <c:v>5.4.–11.4.</c:v>
                </c:pt>
                <c:pt idx="48">
                  <c:v>12.4.–18.4.</c:v>
                </c:pt>
                <c:pt idx="49">
                  <c:v>19.4.–25.4.</c:v>
                </c:pt>
                <c:pt idx="50">
                  <c:v>26.4.–2.5.</c:v>
                </c:pt>
                <c:pt idx="51">
                  <c:v>3.5.–9.5.</c:v>
                </c:pt>
                <c:pt idx="52">
                  <c:v>10.5.–16.5.</c:v>
                </c:pt>
                <c:pt idx="53">
                  <c:v>17.5.–23.5.</c:v>
                </c:pt>
                <c:pt idx="54">
                  <c:v>24.5.–30.5.</c:v>
                </c:pt>
                <c:pt idx="55">
                  <c:v>31.5.–6.6.</c:v>
                </c:pt>
                <c:pt idx="56">
                  <c:v>7.6.–13.6.</c:v>
                </c:pt>
                <c:pt idx="57">
                  <c:v>14.6.–20.6.</c:v>
                </c:pt>
                <c:pt idx="58">
                  <c:v>21.6.–27.6.</c:v>
                </c:pt>
                <c:pt idx="59">
                  <c:v>28.6.–4.7.</c:v>
                </c:pt>
                <c:pt idx="60">
                  <c:v>5.7.–11.7.</c:v>
                </c:pt>
                <c:pt idx="61">
                  <c:v>12.7.–18.7.</c:v>
                </c:pt>
                <c:pt idx="62">
                  <c:v>19.7.–25.7.</c:v>
                </c:pt>
                <c:pt idx="63">
                  <c:v>26.7.–1.8.</c:v>
                </c:pt>
                <c:pt idx="64">
                  <c:v>2.8.–8.8.</c:v>
                </c:pt>
                <c:pt idx="65">
                  <c:v>9.8.–15.8.</c:v>
                </c:pt>
                <c:pt idx="66">
                  <c:v>16.8.–22.8.</c:v>
                </c:pt>
                <c:pt idx="67">
                  <c:v>23.8.–29.8.</c:v>
                </c:pt>
                <c:pt idx="68">
                  <c:v>30.8.–5.9.</c:v>
                </c:pt>
                <c:pt idx="69">
                  <c:v>6.9.–12.9.</c:v>
                </c:pt>
                <c:pt idx="70">
                  <c:v>13.9.–19.9.</c:v>
                </c:pt>
                <c:pt idx="71">
                  <c:v>20.9.–26.9.</c:v>
                </c:pt>
                <c:pt idx="72">
                  <c:v>27.9.–3.10.</c:v>
                </c:pt>
                <c:pt idx="73">
                  <c:v>4.10.–10.10.</c:v>
                </c:pt>
                <c:pt idx="74">
                  <c:v>11.10.–17.10.</c:v>
                </c:pt>
                <c:pt idx="75">
                  <c:v>18.10.–24.10.</c:v>
                </c:pt>
                <c:pt idx="76">
                  <c:v>25.10.–31.10.</c:v>
                </c:pt>
                <c:pt idx="77">
                  <c:v>1.11.–7.11.</c:v>
                </c:pt>
                <c:pt idx="78">
                  <c:v>8.11.–14.11.</c:v>
                </c:pt>
                <c:pt idx="79">
                  <c:v>15.11.–21.11.</c:v>
                </c:pt>
                <c:pt idx="80">
                  <c:v>22.11.–28.11.</c:v>
                </c:pt>
                <c:pt idx="81">
                  <c:v>29.11.–5.12.</c:v>
                </c:pt>
                <c:pt idx="82">
                  <c:v>6.12.–12.12.</c:v>
                </c:pt>
                <c:pt idx="83">
                  <c:v>13.12.–19.12.</c:v>
                </c:pt>
                <c:pt idx="84">
                  <c:v>20.12.–26.12.</c:v>
                </c:pt>
                <c:pt idx="85">
                  <c:v>27.12.–2.1.</c:v>
                </c:pt>
                <c:pt idx="86">
                  <c:v>3.1.–9.1.</c:v>
                </c:pt>
                <c:pt idx="87">
                  <c:v>10.1.–16.1.</c:v>
                </c:pt>
                <c:pt idx="88">
                  <c:v>17.1.–23.1.</c:v>
                </c:pt>
                <c:pt idx="89">
                  <c:v>24.1.–30.1.</c:v>
                </c:pt>
                <c:pt idx="90">
                  <c:v>31.1.–6.2.</c:v>
                </c:pt>
                <c:pt idx="91">
                  <c:v>7.2.–13.2.</c:v>
                </c:pt>
                <c:pt idx="92">
                  <c:v>14.2.–20.2.</c:v>
                </c:pt>
                <c:pt idx="93">
                  <c:v>21.2.–27.2.</c:v>
                </c:pt>
                <c:pt idx="94">
                  <c:v>28.2.–6.3.</c:v>
                </c:pt>
                <c:pt idx="95">
                  <c:v>7.3.–13.3.</c:v>
                </c:pt>
                <c:pt idx="96">
                  <c:v>14.3.–20.3.</c:v>
                </c:pt>
                <c:pt idx="97">
                  <c:v>21.3.–27.3.</c:v>
                </c:pt>
                <c:pt idx="98">
                  <c:v>28.3.–3.4.</c:v>
                </c:pt>
                <c:pt idx="99">
                  <c:v>4.4.–10.4.</c:v>
                </c:pt>
              </c:strCache>
            </c:strRef>
          </c:cat>
          <c:val>
            <c:numRef>
              <c:f>List1!$D$2:$CY$2</c:f>
              <c:numCache>
                <c:formatCode>General</c:formatCode>
                <c:ptCount val="100"/>
                <c:pt idx="0">
                  <c:v>90</c:v>
                </c:pt>
                <c:pt idx="1">
                  <c:v>20</c:v>
                </c:pt>
                <c:pt idx="2">
                  <c:v>0</c:v>
                </c:pt>
                <c:pt idx="3">
                  <c:v>35</c:v>
                </c:pt>
                <c:pt idx="4">
                  <c:v>0</c:v>
                </c:pt>
                <c:pt idx="5">
                  <c:v>45</c:v>
                </c:pt>
                <c:pt idx="6">
                  <c:v>2</c:v>
                </c:pt>
                <c:pt idx="7">
                  <c:v>2</c:v>
                </c:pt>
                <c:pt idx="8">
                  <c:v>1</c:v>
                </c:pt>
                <c:pt idx="9">
                  <c:v>0</c:v>
                </c:pt>
                <c:pt idx="10">
                  <c:v>110</c:v>
                </c:pt>
                <c:pt idx="11">
                  <c:v>1</c:v>
                </c:pt>
                <c:pt idx="12">
                  <c:v>86</c:v>
                </c:pt>
                <c:pt idx="13">
                  <c:v>40</c:v>
                </c:pt>
                <c:pt idx="14">
                  <c:v>44</c:v>
                </c:pt>
                <c:pt idx="15">
                  <c:v>1</c:v>
                </c:pt>
                <c:pt idx="16">
                  <c:v>196</c:v>
                </c:pt>
                <c:pt idx="17">
                  <c:v>138</c:v>
                </c:pt>
                <c:pt idx="18">
                  <c:v>100</c:v>
                </c:pt>
                <c:pt idx="19">
                  <c:v>627</c:v>
                </c:pt>
                <c:pt idx="20">
                  <c:v>290</c:v>
                </c:pt>
                <c:pt idx="21">
                  <c:v>1325</c:v>
                </c:pt>
                <c:pt idx="22">
                  <c:v>3258</c:v>
                </c:pt>
                <c:pt idx="23">
                  <c:v>2610</c:v>
                </c:pt>
                <c:pt idx="24">
                  <c:v>2702</c:v>
                </c:pt>
                <c:pt idx="25">
                  <c:v>2109</c:v>
                </c:pt>
                <c:pt idx="26">
                  <c:v>3034</c:v>
                </c:pt>
                <c:pt idx="27">
                  <c:v>2017</c:v>
                </c:pt>
                <c:pt idx="28">
                  <c:v>788</c:v>
                </c:pt>
                <c:pt idx="29">
                  <c:v>772</c:v>
                </c:pt>
                <c:pt idx="30">
                  <c:v>1444</c:v>
                </c:pt>
                <c:pt idx="31">
                  <c:v>992</c:v>
                </c:pt>
                <c:pt idx="32">
                  <c:v>582</c:v>
                </c:pt>
                <c:pt idx="33">
                  <c:v>943</c:v>
                </c:pt>
                <c:pt idx="34">
                  <c:v>1069</c:v>
                </c:pt>
                <c:pt idx="35">
                  <c:v>910</c:v>
                </c:pt>
                <c:pt idx="36">
                  <c:v>885</c:v>
                </c:pt>
                <c:pt idx="37">
                  <c:v>409</c:v>
                </c:pt>
                <c:pt idx="38">
                  <c:v>650</c:v>
                </c:pt>
                <c:pt idx="39">
                  <c:v>590</c:v>
                </c:pt>
                <c:pt idx="40">
                  <c:v>204</c:v>
                </c:pt>
                <c:pt idx="41">
                  <c:v>356</c:v>
                </c:pt>
                <c:pt idx="42">
                  <c:v>143</c:v>
                </c:pt>
                <c:pt idx="43">
                  <c:v>223</c:v>
                </c:pt>
                <c:pt idx="44">
                  <c:v>295</c:v>
                </c:pt>
                <c:pt idx="45">
                  <c:v>192</c:v>
                </c:pt>
                <c:pt idx="46">
                  <c:v>115</c:v>
                </c:pt>
                <c:pt idx="47">
                  <c:v>72</c:v>
                </c:pt>
                <c:pt idx="48">
                  <c:v>32</c:v>
                </c:pt>
                <c:pt idx="49">
                  <c:v>16</c:v>
                </c:pt>
                <c:pt idx="50">
                  <c:v>15</c:v>
                </c:pt>
                <c:pt idx="51">
                  <c:v>0</c:v>
                </c:pt>
                <c:pt idx="52">
                  <c:v>14</c:v>
                </c:pt>
                <c:pt idx="53">
                  <c:v>9</c:v>
                </c:pt>
                <c:pt idx="54">
                  <c:v>0</c:v>
                </c:pt>
                <c:pt idx="55">
                  <c:v>3</c:v>
                </c:pt>
                <c:pt idx="56">
                  <c:v>4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3</c:v>
                </c:pt>
                <c:pt idx="62">
                  <c:v>5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10</c:v>
                </c:pt>
                <c:pt idx="67">
                  <c:v>0</c:v>
                </c:pt>
                <c:pt idx="68">
                  <c:v>28</c:v>
                </c:pt>
                <c:pt idx="69">
                  <c:v>0</c:v>
                </c:pt>
                <c:pt idx="70">
                  <c:v>6</c:v>
                </c:pt>
                <c:pt idx="71">
                  <c:v>14</c:v>
                </c:pt>
                <c:pt idx="72">
                  <c:v>46</c:v>
                </c:pt>
                <c:pt idx="73">
                  <c:v>30</c:v>
                </c:pt>
                <c:pt idx="74">
                  <c:v>58</c:v>
                </c:pt>
                <c:pt idx="75">
                  <c:v>28</c:v>
                </c:pt>
                <c:pt idx="76">
                  <c:v>65</c:v>
                </c:pt>
                <c:pt idx="77">
                  <c:v>313</c:v>
                </c:pt>
                <c:pt idx="78">
                  <c:v>90</c:v>
                </c:pt>
                <c:pt idx="79">
                  <c:v>107</c:v>
                </c:pt>
                <c:pt idx="80">
                  <c:v>119</c:v>
                </c:pt>
                <c:pt idx="81">
                  <c:v>105</c:v>
                </c:pt>
                <c:pt idx="82">
                  <c:v>173</c:v>
                </c:pt>
                <c:pt idx="83">
                  <c:v>106</c:v>
                </c:pt>
                <c:pt idx="84">
                  <c:v>70</c:v>
                </c:pt>
                <c:pt idx="85">
                  <c:v>154</c:v>
                </c:pt>
                <c:pt idx="86">
                  <c:v>46</c:v>
                </c:pt>
                <c:pt idx="87">
                  <c:v>30</c:v>
                </c:pt>
                <c:pt idx="88">
                  <c:v>253</c:v>
                </c:pt>
                <c:pt idx="89">
                  <c:v>311</c:v>
                </c:pt>
                <c:pt idx="90">
                  <c:v>486</c:v>
                </c:pt>
                <c:pt idx="91">
                  <c:v>825</c:v>
                </c:pt>
                <c:pt idx="92">
                  <c:v>349</c:v>
                </c:pt>
                <c:pt idx="93">
                  <c:v>298</c:v>
                </c:pt>
                <c:pt idx="94">
                  <c:v>110</c:v>
                </c:pt>
                <c:pt idx="95">
                  <c:v>205</c:v>
                </c:pt>
                <c:pt idx="96">
                  <c:v>138</c:v>
                </c:pt>
                <c:pt idx="97">
                  <c:v>216</c:v>
                </c:pt>
                <c:pt idx="98">
                  <c:v>39</c:v>
                </c:pt>
                <c:pt idx="99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1"/>
          <c:dPt>
            <c:idx val="0"/>
            <c:bubble3D val="0"/>
            <c:explosion val="3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23847481928522815"/>
                  <c:y val="-0.1349002337563882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0.22867473090205878"/>
                  <c:y val="0.195518539197765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50950427742643"/>
                      <c:h val="0.167592909859768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0899999999999996</c:v>
                </c:pt>
                <c:pt idx="1">
                  <c:v>0.290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19551252206363898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59199999999999997</c:v>
                </c:pt>
                <c:pt idx="1">
                  <c:v>0.40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1764062209815882"/>
                  <c:y val="-8.371227168708224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31503403883819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0.13720483854123527"/>
                  <c:y val="0.1316880742377890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5400000000000003</c:v>
                </c:pt>
                <c:pt idx="1">
                  <c:v>0.34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9.9717101834593827E-2"/>
                  <c:y val="-0.156140803526777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510648422761702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94669692341171"/>
                      <c:h val="9.53545866443512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914725550917827</c:v>
                </c:pt>
                <c:pt idx="1">
                  <c:v>8.5274449082177635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895043731778432</c:v>
                </c:pt>
                <c:pt idx="1">
                  <c:v>0.13104956268221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11796735173054548"/>
                  <c:y val="-0.15036173766954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430786666796995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4.5361967148006825E-2"/>
                  <c:y val="8.46219057539018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75961527084196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754290749604473</c:v>
                </c:pt>
                <c:pt idx="1">
                  <c:v>7.24570925039552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1678566292919781"/>
          <c:y val="9.8724301501472447E-2"/>
          <c:w val="0.86222309884669401"/>
          <c:h val="0.6694454134335312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List1!$B$2:$B$586</c:f>
              <c:numCache>
                <c:formatCode>General</c:formatCode>
                <c:ptCount val="585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9</c:v>
                </c:pt>
                <c:pt idx="11">
                  <c:v>13</c:v>
                </c:pt>
                <c:pt idx="12">
                  <c:v>14</c:v>
                </c:pt>
                <c:pt idx="13">
                  <c:v>23</c:v>
                </c:pt>
                <c:pt idx="14">
                  <c:v>23</c:v>
                </c:pt>
                <c:pt idx="15">
                  <c:v>23</c:v>
                </c:pt>
                <c:pt idx="16">
                  <c:v>23</c:v>
                </c:pt>
                <c:pt idx="17">
                  <c:v>25</c:v>
                </c:pt>
                <c:pt idx="18">
                  <c:v>26</c:v>
                </c:pt>
                <c:pt idx="19">
                  <c:v>30</c:v>
                </c:pt>
                <c:pt idx="20">
                  <c:v>31</c:v>
                </c:pt>
                <c:pt idx="21">
                  <c:v>32</c:v>
                </c:pt>
                <c:pt idx="22">
                  <c:v>33</c:v>
                </c:pt>
                <c:pt idx="23">
                  <c:v>36</c:v>
                </c:pt>
                <c:pt idx="24">
                  <c:v>37</c:v>
                </c:pt>
                <c:pt idx="25">
                  <c:v>42</c:v>
                </c:pt>
                <c:pt idx="26">
                  <c:v>49</c:v>
                </c:pt>
                <c:pt idx="27">
                  <c:v>52</c:v>
                </c:pt>
                <c:pt idx="28">
                  <c:v>57</c:v>
                </c:pt>
                <c:pt idx="29">
                  <c:v>85</c:v>
                </c:pt>
                <c:pt idx="30">
                  <c:v>116</c:v>
                </c:pt>
                <c:pt idx="31">
                  <c:v>179</c:v>
                </c:pt>
                <c:pt idx="32">
                  <c:v>215</c:v>
                </c:pt>
                <c:pt idx="33">
                  <c:v>272</c:v>
                </c:pt>
                <c:pt idx="34">
                  <c:v>441</c:v>
                </c:pt>
                <c:pt idx="35">
                  <c:v>524</c:v>
                </c:pt>
                <c:pt idx="36">
                  <c:v>569</c:v>
                </c:pt>
                <c:pt idx="37">
                  <c:v>649</c:v>
                </c:pt>
                <c:pt idx="38">
                  <c:v>788</c:v>
                </c:pt>
                <c:pt idx="39">
                  <c:v>818</c:v>
                </c:pt>
                <c:pt idx="40">
                  <c:v>831</c:v>
                </c:pt>
                <c:pt idx="41">
                  <c:v>970</c:v>
                </c:pt>
                <c:pt idx="42">
                  <c:v>1195</c:v>
                </c:pt>
                <c:pt idx="43">
                  <c:v>1377</c:v>
                </c:pt>
                <c:pt idx="44">
                  <c:v>1578</c:v>
                </c:pt>
                <c:pt idx="45">
                  <c:v>1784</c:v>
                </c:pt>
                <c:pt idx="46">
                  <c:v>1941</c:v>
                </c:pt>
                <c:pt idx="47">
                  <c:v>1982</c:v>
                </c:pt>
                <c:pt idx="48">
                  <c:v>2229</c:v>
                </c:pt>
                <c:pt idx="49">
                  <c:v>2432</c:v>
                </c:pt>
                <c:pt idx="50">
                  <c:v>2759</c:v>
                </c:pt>
                <c:pt idx="51">
                  <c:v>2998</c:v>
                </c:pt>
                <c:pt idx="52">
                  <c:v>3422</c:v>
                </c:pt>
                <c:pt idx="53">
                  <c:v>3653</c:v>
                </c:pt>
                <c:pt idx="54">
                  <c:v>3854</c:v>
                </c:pt>
                <c:pt idx="55">
                  <c:v>4246</c:v>
                </c:pt>
                <c:pt idx="56">
                  <c:v>4786</c:v>
                </c:pt>
                <c:pt idx="57">
                  <c:v>5052</c:v>
                </c:pt>
                <c:pt idx="58">
                  <c:v>5600</c:v>
                </c:pt>
                <c:pt idx="59">
                  <c:v>6190</c:v>
                </c:pt>
                <c:pt idx="60">
                  <c:v>6530</c:v>
                </c:pt>
                <c:pt idx="61">
                  <c:v>6747</c:v>
                </c:pt>
                <c:pt idx="62">
                  <c:v>7087</c:v>
                </c:pt>
                <c:pt idx="63">
                  <c:v>7438</c:v>
                </c:pt>
                <c:pt idx="64">
                  <c:v>7865</c:v>
                </c:pt>
                <c:pt idx="65">
                  <c:v>8407</c:v>
                </c:pt>
                <c:pt idx="66">
                  <c:v>8910</c:v>
                </c:pt>
                <c:pt idx="67">
                  <c:v>9126</c:v>
                </c:pt>
                <c:pt idx="68">
                  <c:v>9209</c:v>
                </c:pt>
                <c:pt idx="69">
                  <c:v>9419</c:v>
                </c:pt>
                <c:pt idx="70">
                  <c:v>9806</c:v>
                </c:pt>
                <c:pt idx="71">
                  <c:v>10490</c:v>
                </c:pt>
                <c:pt idx="72">
                  <c:v>10996</c:v>
                </c:pt>
                <c:pt idx="73">
                  <c:v>11483</c:v>
                </c:pt>
                <c:pt idx="74">
                  <c:v>11669</c:v>
                </c:pt>
                <c:pt idx="75">
                  <c:v>11841</c:v>
                </c:pt>
                <c:pt idx="76">
                  <c:v>12234</c:v>
                </c:pt>
                <c:pt idx="77">
                  <c:v>12373</c:v>
                </c:pt>
                <c:pt idx="78">
                  <c:v>12648</c:v>
                </c:pt>
                <c:pt idx="79">
                  <c:v>12925</c:v>
                </c:pt>
                <c:pt idx="80">
                  <c:v>13171</c:v>
                </c:pt>
                <c:pt idx="81">
                  <c:v>13267</c:v>
                </c:pt>
                <c:pt idx="82">
                  <c:v>13360</c:v>
                </c:pt>
                <c:pt idx="83">
                  <c:v>13746</c:v>
                </c:pt>
                <c:pt idx="84">
                  <c:v>13948</c:v>
                </c:pt>
                <c:pt idx="85">
                  <c:v>14079</c:v>
                </c:pt>
                <c:pt idx="86">
                  <c:v>14279</c:v>
                </c:pt>
                <c:pt idx="87">
                  <c:v>14419</c:v>
                </c:pt>
                <c:pt idx="88">
                  <c:v>14499</c:v>
                </c:pt>
                <c:pt idx="89">
                  <c:v>14528</c:v>
                </c:pt>
                <c:pt idx="90">
                  <c:v>14742</c:v>
                </c:pt>
                <c:pt idx="91">
                  <c:v>14868</c:v>
                </c:pt>
                <c:pt idx="92">
                  <c:v>15004</c:v>
                </c:pt>
                <c:pt idx="93">
                  <c:v>15139</c:v>
                </c:pt>
                <c:pt idx="94">
                  <c:v>15290</c:v>
                </c:pt>
                <c:pt idx="95">
                  <c:v>15380</c:v>
                </c:pt>
                <c:pt idx="96">
                  <c:v>15403</c:v>
                </c:pt>
                <c:pt idx="97">
                  <c:v>15549</c:v>
                </c:pt>
                <c:pt idx="98">
                  <c:v>15642</c:v>
                </c:pt>
                <c:pt idx="99">
                  <c:v>15784</c:v>
                </c:pt>
                <c:pt idx="100">
                  <c:v>15869</c:v>
                </c:pt>
                <c:pt idx="101">
                  <c:v>16109</c:v>
                </c:pt>
                <c:pt idx="102">
                  <c:v>16176</c:v>
                </c:pt>
                <c:pt idx="103">
                  <c:v>16228</c:v>
                </c:pt>
                <c:pt idx="104">
                  <c:v>16378</c:v>
                </c:pt>
                <c:pt idx="105">
                  <c:v>16512</c:v>
                </c:pt>
                <c:pt idx="106">
                  <c:v>16612</c:v>
                </c:pt>
                <c:pt idx="107">
                  <c:v>16682</c:v>
                </c:pt>
                <c:pt idx="108">
                  <c:v>16906</c:v>
                </c:pt>
                <c:pt idx="109">
                  <c:v>16967</c:v>
                </c:pt>
                <c:pt idx="110">
                  <c:v>16989</c:v>
                </c:pt>
                <c:pt idx="111">
                  <c:v>17170</c:v>
                </c:pt>
                <c:pt idx="112">
                  <c:v>17350</c:v>
                </c:pt>
                <c:pt idx="113">
                  <c:v>17474</c:v>
                </c:pt>
                <c:pt idx="114">
                  <c:v>17493</c:v>
                </c:pt>
                <c:pt idx="115">
                  <c:v>17566</c:v>
                </c:pt>
                <c:pt idx="116">
                  <c:v>17646</c:v>
                </c:pt>
                <c:pt idx="117">
                  <c:v>17744</c:v>
                </c:pt>
                <c:pt idx="118">
                  <c:v>17911</c:v>
                </c:pt>
                <c:pt idx="119">
                  <c:v>18096</c:v>
                </c:pt>
                <c:pt idx="120">
                  <c:v>18244</c:v>
                </c:pt>
                <c:pt idx="121">
                  <c:v>18381</c:v>
                </c:pt>
                <c:pt idx="122">
                  <c:v>18448</c:v>
                </c:pt>
                <c:pt idx="123">
                  <c:v>18510</c:v>
                </c:pt>
                <c:pt idx="124">
                  <c:v>18553</c:v>
                </c:pt>
                <c:pt idx="125">
                  <c:v>18826</c:v>
                </c:pt>
                <c:pt idx="126">
                  <c:v>18982</c:v>
                </c:pt>
                <c:pt idx="127">
                  <c:v>19146</c:v>
                </c:pt>
                <c:pt idx="128">
                  <c:v>19382</c:v>
                </c:pt>
                <c:pt idx="129">
                  <c:v>19572</c:v>
                </c:pt>
                <c:pt idx="130">
                  <c:v>19638</c:v>
                </c:pt>
                <c:pt idx="131">
                  <c:v>19675</c:v>
                </c:pt>
                <c:pt idx="132">
                  <c:v>19920</c:v>
                </c:pt>
                <c:pt idx="133">
                  <c:v>20050</c:v>
                </c:pt>
                <c:pt idx="134">
                  <c:v>20225</c:v>
                </c:pt>
                <c:pt idx="135">
                  <c:v>20325</c:v>
                </c:pt>
                <c:pt idx="136">
                  <c:v>20417</c:v>
                </c:pt>
                <c:pt idx="137">
                  <c:v>20453</c:v>
                </c:pt>
                <c:pt idx="138">
                  <c:v>20502</c:v>
                </c:pt>
                <c:pt idx="139">
                  <c:v>20671</c:v>
                </c:pt>
                <c:pt idx="140">
                  <c:v>20755</c:v>
                </c:pt>
                <c:pt idx="141">
                  <c:v>20902</c:v>
                </c:pt>
                <c:pt idx="142">
                  <c:v>21011</c:v>
                </c:pt>
                <c:pt idx="143">
                  <c:v>21130</c:v>
                </c:pt>
                <c:pt idx="144">
                  <c:v>21184</c:v>
                </c:pt>
                <c:pt idx="145">
                  <c:v>21210</c:v>
                </c:pt>
                <c:pt idx="146">
                  <c:v>21298</c:v>
                </c:pt>
                <c:pt idx="147">
                  <c:v>21341</c:v>
                </c:pt>
                <c:pt idx="148">
                  <c:v>21438</c:v>
                </c:pt>
                <c:pt idx="149">
                  <c:v>21506</c:v>
                </c:pt>
                <c:pt idx="150">
                  <c:v>21545</c:v>
                </c:pt>
                <c:pt idx="151">
                  <c:v>21595</c:v>
                </c:pt>
                <c:pt idx="152">
                  <c:v>21605</c:v>
                </c:pt>
                <c:pt idx="153">
                  <c:v>21713</c:v>
                </c:pt>
                <c:pt idx="154">
                  <c:v>21811</c:v>
                </c:pt>
                <c:pt idx="155">
                  <c:v>21915</c:v>
                </c:pt>
                <c:pt idx="156">
                  <c:v>22002</c:v>
                </c:pt>
                <c:pt idx="157">
                  <c:v>22088</c:v>
                </c:pt>
                <c:pt idx="158">
                  <c:v>22132</c:v>
                </c:pt>
                <c:pt idx="159">
                  <c:v>22149</c:v>
                </c:pt>
                <c:pt idx="160">
                  <c:v>22216</c:v>
                </c:pt>
                <c:pt idx="161">
                  <c:v>22283</c:v>
                </c:pt>
                <c:pt idx="162">
                  <c:v>22351</c:v>
                </c:pt>
                <c:pt idx="163">
                  <c:v>22421</c:v>
                </c:pt>
                <c:pt idx="164">
                  <c:v>22473</c:v>
                </c:pt>
                <c:pt idx="165">
                  <c:v>22482</c:v>
                </c:pt>
                <c:pt idx="166">
                  <c:v>22496</c:v>
                </c:pt>
                <c:pt idx="167">
                  <c:v>22535</c:v>
                </c:pt>
                <c:pt idx="168">
                  <c:v>22555</c:v>
                </c:pt>
                <c:pt idx="169">
                  <c:v>22585</c:v>
                </c:pt>
                <c:pt idx="170">
                  <c:v>22616</c:v>
                </c:pt>
                <c:pt idx="171">
                  <c:v>22645</c:v>
                </c:pt>
                <c:pt idx="172">
                  <c:v>22664</c:v>
                </c:pt>
                <c:pt idx="173">
                  <c:v>22672</c:v>
                </c:pt>
                <c:pt idx="174">
                  <c:v>22766</c:v>
                </c:pt>
                <c:pt idx="175">
                  <c:v>22803</c:v>
                </c:pt>
                <c:pt idx="176">
                  <c:v>22839</c:v>
                </c:pt>
                <c:pt idx="177">
                  <c:v>22885</c:v>
                </c:pt>
                <c:pt idx="178">
                  <c:v>22934</c:v>
                </c:pt>
                <c:pt idx="179">
                  <c:v>22945</c:v>
                </c:pt>
                <c:pt idx="180">
                  <c:v>22948</c:v>
                </c:pt>
                <c:pt idx="181">
                  <c:v>23027</c:v>
                </c:pt>
                <c:pt idx="182">
                  <c:v>23056</c:v>
                </c:pt>
                <c:pt idx="183">
                  <c:v>23100</c:v>
                </c:pt>
                <c:pt idx="184">
                  <c:v>23111</c:v>
                </c:pt>
                <c:pt idx="185">
                  <c:v>23137</c:v>
                </c:pt>
                <c:pt idx="186">
                  <c:v>23142</c:v>
                </c:pt>
                <c:pt idx="187">
                  <c:v>23148</c:v>
                </c:pt>
                <c:pt idx="188">
                  <c:v>23176</c:v>
                </c:pt>
                <c:pt idx="189">
                  <c:v>23293</c:v>
                </c:pt>
                <c:pt idx="190">
                  <c:v>23372</c:v>
                </c:pt>
                <c:pt idx="191">
                  <c:v>23387</c:v>
                </c:pt>
                <c:pt idx="192">
                  <c:v>23421</c:v>
                </c:pt>
                <c:pt idx="193">
                  <c:v>23430</c:v>
                </c:pt>
                <c:pt idx="194">
                  <c:v>23437</c:v>
                </c:pt>
                <c:pt idx="195">
                  <c:v>23471</c:v>
                </c:pt>
                <c:pt idx="196">
                  <c:v>23494</c:v>
                </c:pt>
                <c:pt idx="197">
                  <c:v>23506</c:v>
                </c:pt>
                <c:pt idx="198">
                  <c:v>23543</c:v>
                </c:pt>
                <c:pt idx="199">
                  <c:v>23562</c:v>
                </c:pt>
                <c:pt idx="200">
                  <c:v>23572</c:v>
                </c:pt>
                <c:pt idx="201">
                  <c:v>23576</c:v>
                </c:pt>
                <c:pt idx="202">
                  <c:v>23589</c:v>
                </c:pt>
                <c:pt idx="203">
                  <c:v>23620</c:v>
                </c:pt>
                <c:pt idx="204">
                  <c:v>23644</c:v>
                </c:pt>
                <c:pt idx="205">
                  <c:v>23676</c:v>
                </c:pt>
                <c:pt idx="206">
                  <c:v>23684</c:v>
                </c:pt>
                <c:pt idx="207">
                  <c:v>23687</c:v>
                </c:pt>
                <c:pt idx="208">
                  <c:v>23691</c:v>
                </c:pt>
                <c:pt idx="209">
                  <c:v>23713</c:v>
                </c:pt>
                <c:pt idx="210">
                  <c:v>23726</c:v>
                </c:pt>
                <c:pt idx="211">
                  <c:v>23737</c:v>
                </c:pt>
                <c:pt idx="212">
                  <c:v>23748</c:v>
                </c:pt>
                <c:pt idx="213">
                  <c:v>23752</c:v>
                </c:pt>
                <c:pt idx="214">
                  <c:v>23756</c:v>
                </c:pt>
                <c:pt idx="215">
                  <c:v>23758</c:v>
                </c:pt>
                <c:pt idx="216">
                  <c:v>23759</c:v>
                </c:pt>
                <c:pt idx="217">
                  <c:v>23765</c:v>
                </c:pt>
                <c:pt idx="218">
                  <c:v>23784</c:v>
                </c:pt>
                <c:pt idx="219">
                  <c:v>23786</c:v>
                </c:pt>
                <c:pt idx="220">
                  <c:v>23789</c:v>
                </c:pt>
                <c:pt idx="221">
                  <c:v>23790</c:v>
                </c:pt>
                <c:pt idx="222">
                  <c:v>23790</c:v>
                </c:pt>
                <c:pt idx="223">
                  <c:v>23792</c:v>
                </c:pt>
                <c:pt idx="224">
                  <c:v>23796</c:v>
                </c:pt>
                <c:pt idx="225">
                  <c:v>23800</c:v>
                </c:pt>
                <c:pt idx="226">
                  <c:v>23804</c:v>
                </c:pt>
                <c:pt idx="227">
                  <c:v>23806</c:v>
                </c:pt>
                <c:pt idx="228">
                  <c:v>23807</c:v>
                </c:pt>
                <c:pt idx="229">
                  <c:v>23809</c:v>
                </c:pt>
                <c:pt idx="230">
                  <c:v>23816</c:v>
                </c:pt>
                <c:pt idx="231">
                  <c:v>23821</c:v>
                </c:pt>
                <c:pt idx="232">
                  <c:v>23825</c:v>
                </c:pt>
                <c:pt idx="233">
                  <c:v>23844</c:v>
                </c:pt>
                <c:pt idx="234">
                  <c:v>23852</c:v>
                </c:pt>
                <c:pt idx="235">
                  <c:v>23853</c:v>
                </c:pt>
                <c:pt idx="236">
                  <c:v>23853</c:v>
                </c:pt>
                <c:pt idx="237">
                  <c:v>23855</c:v>
                </c:pt>
                <c:pt idx="238">
                  <c:v>23859</c:v>
                </c:pt>
                <c:pt idx="239">
                  <c:v>23860</c:v>
                </c:pt>
                <c:pt idx="240">
                  <c:v>23862</c:v>
                </c:pt>
                <c:pt idx="241">
                  <c:v>23863</c:v>
                </c:pt>
                <c:pt idx="242">
                  <c:v>23863</c:v>
                </c:pt>
                <c:pt idx="243">
                  <c:v>23863</c:v>
                </c:pt>
                <c:pt idx="244">
                  <c:v>23865</c:v>
                </c:pt>
                <c:pt idx="245">
                  <c:v>23865</c:v>
                </c:pt>
                <c:pt idx="246">
                  <c:v>23868</c:v>
                </c:pt>
                <c:pt idx="247">
                  <c:v>23869</c:v>
                </c:pt>
                <c:pt idx="248">
                  <c:v>23871</c:v>
                </c:pt>
                <c:pt idx="249">
                  <c:v>23871</c:v>
                </c:pt>
                <c:pt idx="250">
                  <c:v>23875</c:v>
                </c:pt>
                <c:pt idx="251">
                  <c:v>23880</c:v>
                </c:pt>
                <c:pt idx="252">
                  <c:v>23882</c:v>
                </c:pt>
                <c:pt idx="253">
                  <c:v>23882</c:v>
                </c:pt>
                <c:pt idx="254">
                  <c:v>23884</c:v>
                </c:pt>
                <c:pt idx="255">
                  <c:v>23889</c:v>
                </c:pt>
                <c:pt idx="256">
                  <c:v>23890</c:v>
                </c:pt>
                <c:pt idx="257">
                  <c:v>23890</c:v>
                </c:pt>
                <c:pt idx="258">
                  <c:v>23893</c:v>
                </c:pt>
                <c:pt idx="259">
                  <c:v>23893</c:v>
                </c:pt>
                <c:pt idx="260">
                  <c:v>23895</c:v>
                </c:pt>
                <c:pt idx="261">
                  <c:v>23895</c:v>
                </c:pt>
                <c:pt idx="262">
                  <c:v>23895</c:v>
                </c:pt>
                <c:pt idx="263">
                  <c:v>23895</c:v>
                </c:pt>
                <c:pt idx="264">
                  <c:v>23895</c:v>
                </c:pt>
                <c:pt idx="265">
                  <c:v>23897</c:v>
                </c:pt>
                <c:pt idx="266">
                  <c:v>23897</c:v>
                </c:pt>
                <c:pt idx="267">
                  <c:v>23897</c:v>
                </c:pt>
                <c:pt idx="268">
                  <c:v>23897</c:v>
                </c:pt>
                <c:pt idx="269">
                  <c:v>23897</c:v>
                </c:pt>
                <c:pt idx="270">
                  <c:v>23897</c:v>
                </c:pt>
                <c:pt idx="271">
                  <c:v>23897</c:v>
                </c:pt>
                <c:pt idx="272">
                  <c:v>23898</c:v>
                </c:pt>
                <c:pt idx="273">
                  <c:v>23898</c:v>
                </c:pt>
                <c:pt idx="274">
                  <c:v>23901</c:v>
                </c:pt>
                <c:pt idx="275">
                  <c:v>23902</c:v>
                </c:pt>
                <c:pt idx="276">
                  <c:v>23902</c:v>
                </c:pt>
                <c:pt idx="277">
                  <c:v>23902</c:v>
                </c:pt>
                <c:pt idx="278">
                  <c:v>23902</c:v>
                </c:pt>
                <c:pt idx="279">
                  <c:v>23904</c:v>
                </c:pt>
                <c:pt idx="280">
                  <c:v>23904</c:v>
                </c:pt>
                <c:pt idx="281">
                  <c:v>23904</c:v>
                </c:pt>
                <c:pt idx="282">
                  <c:v>23904</c:v>
                </c:pt>
                <c:pt idx="283">
                  <c:v>23905</c:v>
                </c:pt>
                <c:pt idx="284">
                  <c:v>23906</c:v>
                </c:pt>
                <c:pt idx="285">
                  <c:v>23906</c:v>
                </c:pt>
                <c:pt idx="286">
                  <c:v>23906</c:v>
                </c:pt>
                <c:pt idx="287">
                  <c:v>23906</c:v>
                </c:pt>
                <c:pt idx="288">
                  <c:v>23906</c:v>
                </c:pt>
                <c:pt idx="289">
                  <c:v>23907</c:v>
                </c:pt>
                <c:pt idx="290">
                  <c:v>23907</c:v>
                </c:pt>
                <c:pt idx="291">
                  <c:v>23907</c:v>
                </c:pt>
                <c:pt idx="292">
                  <c:v>23907</c:v>
                </c:pt>
                <c:pt idx="293">
                  <c:v>23907</c:v>
                </c:pt>
                <c:pt idx="294">
                  <c:v>23907</c:v>
                </c:pt>
                <c:pt idx="295">
                  <c:v>23908</c:v>
                </c:pt>
                <c:pt idx="296">
                  <c:v>23909</c:v>
                </c:pt>
                <c:pt idx="297">
                  <c:v>23909</c:v>
                </c:pt>
                <c:pt idx="298">
                  <c:v>23909</c:v>
                </c:pt>
                <c:pt idx="299">
                  <c:v>23909</c:v>
                </c:pt>
                <c:pt idx="300">
                  <c:v>23909</c:v>
                </c:pt>
                <c:pt idx="301">
                  <c:v>23909</c:v>
                </c:pt>
                <c:pt idx="302">
                  <c:v>23909</c:v>
                </c:pt>
                <c:pt idx="303">
                  <c:v>23910</c:v>
                </c:pt>
                <c:pt idx="304">
                  <c:v>23910</c:v>
                </c:pt>
                <c:pt idx="305">
                  <c:v>23910</c:v>
                </c:pt>
                <c:pt idx="306">
                  <c:v>23911</c:v>
                </c:pt>
                <c:pt idx="307">
                  <c:v>23911</c:v>
                </c:pt>
                <c:pt idx="308">
                  <c:v>23912</c:v>
                </c:pt>
                <c:pt idx="309">
                  <c:v>23912</c:v>
                </c:pt>
                <c:pt idx="310">
                  <c:v>23913</c:v>
                </c:pt>
                <c:pt idx="311">
                  <c:v>23913</c:v>
                </c:pt>
                <c:pt idx="312">
                  <c:v>23913</c:v>
                </c:pt>
                <c:pt idx="313">
                  <c:v>23913</c:v>
                </c:pt>
                <c:pt idx="314">
                  <c:v>23913</c:v>
                </c:pt>
                <c:pt idx="315">
                  <c:v>23913</c:v>
                </c:pt>
                <c:pt idx="316">
                  <c:v>23913</c:v>
                </c:pt>
                <c:pt idx="317">
                  <c:v>23913</c:v>
                </c:pt>
                <c:pt idx="318">
                  <c:v>23913</c:v>
                </c:pt>
                <c:pt idx="319">
                  <c:v>23913</c:v>
                </c:pt>
                <c:pt idx="320">
                  <c:v>23913</c:v>
                </c:pt>
                <c:pt idx="321">
                  <c:v>23913</c:v>
                </c:pt>
                <c:pt idx="322">
                  <c:v>23913</c:v>
                </c:pt>
                <c:pt idx="323">
                  <c:v>23913</c:v>
                </c:pt>
                <c:pt idx="324">
                  <c:v>23913</c:v>
                </c:pt>
                <c:pt idx="325">
                  <c:v>23913</c:v>
                </c:pt>
                <c:pt idx="326">
                  <c:v>23914</c:v>
                </c:pt>
                <c:pt idx="327">
                  <c:v>23914</c:v>
                </c:pt>
                <c:pt idx="328">
                  <c:v>23914</c:v>
                </c:pt>
                <c:pt idx="329">
                  <c:v>23914</c:v>
                </c:pt>
                <c:pt idx="330">
                  <c:v>23914</c:v>
                </c:pt>
                <c:pt idx="331">
                  <c:v>23914</c:v>
                </c:pt>
                <c:pt idx="332">
                  <c:v>23915</c:v>
                </c:pt>
                <c:pt idx="333">
                  <c:v>23915</c:v>
                </c:pt>
                <c:pt idx="334">
                  <c:v>23915</c:v>
                </c:pt>
                <c:pt idx="335">
                  <c:v>23915</c:v>
                </c:pt>
                <c:pt idx="336">
                  <c:v>23915</c:v>
                </c:pt>
                <c:pt idx="337">
                  <c:v>23915</c:v>
                </c:pt>
                <c:pt idx="338">
                  <c:v>23915</c:v>
                </c:pt>
                <c:pt idx="339">
                  <c:v>23915</c:v>
                </c:pt>
                <c:pt idx="340">
                  <c:v>23915</c:v>
                </c:pt>
                <c:pt idx="341">
                  <c:v>23915</c:v>
                </c:pt>
                <c:pt idx="342">
                  <c:v>23915</c:v>
                </c:pt>
                <c:pt idx="343">
                  <c:v>23915</c:v>
                </c:pt>
                <c:pt idx="344">
                  <c:v>23915</c:v>
                </c:pt>
                <c:pt idx="345">
                  <c:v>23915</c:v>
                </c:pt>
                <c:pt idx="346">
                  <c:v>23915</c:v>
                </c:pt>
                <c:pt idx="347">
                  <c:v>23915</c:v>
                </c:pt>
                <c:pt idx="348">
                  <c:v>23915</c:v>
                </c:pt>
                <c:pt idx="349">
                  <c:v>23916</c:v>
                </c:pt>
                <c:pt idx="350">
                  <c:v>23917</c:v>
                </c:pt>
                <c:pt idx="351">
                  <c:v>23917</c:v>
                </c:pt>
                <c:pt idx="352">
                  <c:v>23918</c:v>
                </c:pt>
                <c:pt idx="353">
                  <c:v>23918</c:v>
                </c:pt>
                <c:pt idx="354">
                  <c:v>23918</c:v>
                </c:pt>
                <c:pt idx="355">
                  <c:v>23918</c:v>
                </c:pt>
                <c:pt idx="356">
                  <c:v>23920</c:v>
                </c:pt>
                <c:pt idx="357">
                  <c:v>23920</c:v>
                </c:pt>
                <c:pt idx="358">
                  <c:v>23920</c:v>
                </c:pt>
                <c:pt idx="359">
                  <c:v>23920</c:v>
                </c:pt>
                <c:pt idx="360">
                  <c:v>23920</c:v>
                </c:pt>
                <c:pt idx="361">
                  <c:v>23920</c:v>
                </c:pt>
                <c:pt idx="362">
                  <c:v>23920</c:v>
                </c:pt>
                <c:pt idx="363">
                  <c:v>23920</c:v>
                </c:pt>
                <c:pt idx="364">
                  <c:v>23920</c:v>
                </c:pt>
                <c:pt idx="365">
                  <c:v>23922</c:v>
                </c:pt>
                <c:pt idx="366">
                  <c:v>23926</c:v>
                </c:pt>
                <c:pt idx="367">
                  <c:v>23928</c:v>
                </c:pt>
                <c:pt idx="368">
                  <c:v>23929</c:v>
                </c:pt>
                <c:pt idx="369">
                  <c:v>23929</c:v>
                </c:pt>
                <c:pt idx="370">
                  <c:v>23933</c:v>
                </c:pt>
                <c:pt idx="371">
                  <c:v>23933</c:v>
                </c:pt>
                <c:pt idx="372">
                  <c:v>23933</c:v>
                </c:pt>
                <c:pt idx="373">
                  <c:v>23934</c:v>
                </c:pt>
                <c:pt idx="374">
                  <c:v>23935</c:v>
                </c:pt>
                <c:pt idx="375">
                  <c:v>23935</c:v>
                </c:pt>
                <c:pt idx="376">
                  <c:v>23935</c:v>
                </c:pt>
                <c:pt idx="377">
                  <c:v>23936</c:v>
                </c:pt>
                <c:pt idx="378">
                  <c:v>23936</c:v>
                </c:pt>
                <c:pt idx="379">
                  <c:v>23936</c:v>
                </c:pt>
                <c:pt idx="380">
                  <c:v>23936</c:v>
                </c:pt>
                <c:pt idx="381">
                  <c:v>23936</c:v>
                </c:pt>
                <c:pt idx="382">
                  <c:v>23936</c:v>
                </c:pt>
                <c:pt idx="383">
                  <c:v>23936</c:v>
                </c:pt>
                <c:pt idx="384">
                  <c:v>23937</c:v>
                </c:pt>
                <c:pt idx="385">
                  <c:v>23941</c:v>
                </c:pt>
                <c:pt idx="386">
                  <c:v>23942</c:v>
                </c:pt>
                <c:pt idx="387">
                  <c:v>23942</c:v>
                </c:pt>
                <c:pt idx="388">
                  <c:v>23942</c:v>
                </c:pt>
                <c:pt idx="389">
                  <c:v>23942</c:v>
                </c:pt>
                <c:pt idx="390">
                  <c:v>23942</c:v>
                </c:pt>
                <c:pt idx="391">
                  <c:v>23944</c:v>
                </c:pt>
                <c:pt idx="392">
                  <c:v>23944</c:v>
                </c:pt>
                <c:pt idx="393">
                  <c:v>23945</c:v>
                </c:pt>
                <c:pt idx="394">
                  <c:v>23945</c:v>
                </c:pt>
                <c:pt idx="395">
                  <c:v>23945</c:v>
                </c:pt>
                <c:pt idx="396">
                  <c:v>23946</c:v>
                </c:pt>
                <c:pt idx="397">
                  <c:v>23947</c:v>
                </c:pt>
                <c:pt idx="398">
                  <c:v>23949</c:v>
                </c:pt>
                <c:pt idx="399">
                  <c:v>23951</c:v>
                </c:pt>
                <c:pt idx="400">
                  <c:v>23959</c:v>
                </c:pt>
                <c:pt idx="401">
                  <c:v>23961</c:v>
                </c:pt>
                <c:pt idx="402">
                  <c:v>23986</c:v>
                </c:pt>
                <c:pt idx="403">
                  <c:v>23987</c:v>
                </c:pt>
                <c:pt idx="404">
                  <c:v>23987</c:v>
                </c:pt>
                <c:pt idx="405">
                  <c:v>23988</c:v>
                </c:pt>
                <c:pt idx="406">
                  <c:v>23989</c:v>
                </c:pt>
                <c:pt idx="407">
                  <c:v>24009</c:v>
                </c:pt>
                <c:pt idx="408">
                  <c:v>24012</c:v>
                </c:pt>
                <c:pt idx="409">
                  <c:v>24014</c:v>
                </c:pt>
                <c:pt idx="410">
                  <c:v>24014</c:v>
                </c:pt>
                <c:pt idx="411">
                  <c:v>24014</c:v>
                </c:pt>
                <c:pt idx="412">
                  <c:v>24020</c:v>
                </c:pt>
                <c:pt idx="413">
                  <c:v>24025</c:v>
                </c:pt>
                <c:pt idx="414">
                  <c:v>24029</c:v>
                </c:pt>
                <c:pt idx="415">
                  <c:v>24031</c:v>
                </c:pt>
                <c:pt idx="416">
                  <c:v>24036</c:v>
                </c:pt>
                <c:pt idx="417">
                  <c:v>24037</c:v>
                </c:pt>
                <c:pt idx="418">
                  <c:v>24038</c:v>
                </c:pt>
                <c:pt idx="419">
                  <c:v>24052</c:v>
                </c:pt>
                <c:pt idx="420">
                  <c:v>24061</c:v>
                </c:pt>
                <c:pt idx="421">
                  <c:v>24072</c:v>
                </c:pt>
                <c:pt idx="422">
                  <c:v>24072</c:v>
                </c:pt>
                <c:pt idx="423">
                  <c:v>24091</c:v>
                </c:pt>
                <c:pt idx="424">
                  <c:v>24098</c:v>
                </c:pt>
                <c:pt idx="425">
                  <c:v>24109</c:v>
                </c:pt>
                <c:pt idx="426">
                  <c:v>24145</c:v>
                </c:pt>
                <c:pt idx="427">
                  <c:v>24160</c:v>
                </c:pt>
                <c:pt idx="428">
                  <c:v>24176</c:v>
                </c:pt>
                <c:pt idx="429">
                  <c:v>24229</c:v>
                </c:pt>
                <c:pt idx="430">
                  <c:v>24252</c:v>
                </c:pt>
                <c:pt idx="431">
                  <c:v>24258</c:v>
                </c:pt>
                <c:pt idx="432">
                  <c:v>24263</c:v>
                </c:pt>
                <c:pt idx="433">
                  <c:v>24293</c:v>
                </c:pt>
                <c:pt idx="434">
                  <c:v>24323</c:v>
                </c:pt>
                <c:pt idx="435">
                  <c:v>24339</c:v>
                </c:pt>
                <c:pt idx="436">
                  <c:v>24358</c:v>
                </c:pt>
                <c:pt idx="437">
                  <c:v>24375</c:v>
                </c:pt>
                <c:pt idx="438">
                  <c:v>24388</c:v>
                </c:pt>
                <c:pt idx="439">
                  <c:v>24403</c:v>
                </c:pt>
                <c:pt idx="440">
                  <c:v>24446</c:v>
                </c:pt>
                <c:pt idx="441">
                  <c:v>24478</c:v>
                </c:pt>
                <c:pt idx="442">
                  <c:v>24503</c:v>
                </c:pt>
                <c:pt idx="443">
                  <c:v>24559</c:v>
                </c:pt>
                <c:pt idx="444">
                  <c:v>24644</c:v>
                </c:pt>
                <c:pt idx="445">
                  <c:v>24670</c:v>
                </c:pt>
                <c:pt idx="446">
                  <c:v>24679</c:v>
                </c:pt>
                <c:pt idx="447">
                  <c:v>24729</c:v>
                </c:pt>
                <c:pt idx="448">
                  <c:v>24753</c:v>
                </c:pt>
                <c:pt idx="449">
                  <c:v>24795</c:v>
                </c:pt>
                <c:pt idx="450">
                  <c:v>24824</c:v>
                </c:pt>
                <c:pt idx="451">
                  <c:v>24877</c:v>
                </c:pt>
                <c:pt idx="452">
                  <c:v>24882</c:v>
                </c:pt>
                <c:pt idx="453">
                  <c:v>24889</c:v>
                </c:pt>
                <c:pt idx="454">
                  <c:v>24935</c:v>
                </c:pt>
                <c:pt idx="455">
                  <c:v>24951</c:v>
                </c:pt>
                <c:pt idx="456">
                  <c:v>24982</c:v>
                </c:pt>
                <c:pt idx="457">
                  <c:v>25013</c:v>
                </c:pt>
                <c:pt idx="458">
                  <c:v>25027</c:v>
                </c:pt>
                <c:pt idx="459">
                  <c:v>25065</c:v>
                </c:pt>
                <c:pt idx="460">
                  <c:v>25072</c:v>
                </c:pt>
                <c:pt idx="461">
                  <c:v>25104</c:v>
                </c:pt>
                <c:pt idx="462">
                  <c:v>25126</c:v>
                </c:pt>
                <c:pt idx="463">
                  <c:v>25144</c:v>
                </c:pt>
                <c:pt idx="464">
                  <c:v>25175</c:v>
                </c:pt>
                <c:pt idx="465">
                  <c:v>25205</c:v>
                </c:pt>
                <c:pt idx="466">
                  <c:v>25211</c:v>
                </c:pt>
                <c:pt idx="467">
                  <c:v>25212</c:v>
                </c:pt>
                <c:pt idx="468">
                  <c:v>25230</c:v>
                </c:pt>
                <c:pt idx="469">
                  <c:v>25257</c:v>
                </c:pt>
                <c:pt idx="470">
                  <c:v>25274</c:v>
                </c:pt>
                <c:pt idx="471">
                  <c:v>25282</c:v>
                </c:pt>
                <c:pt idx="472">
                  <c:v>25294</c:v>
                </c:pt>
                <c:pt idx="473">
                  <c:v>25296</c:v>
                </c:pt>
                <c:pt idx="474">
                  <c:v>25299</c:v>
                </c:pt>
                <c:pt idx="475">
                  <c:v>25315</c:v>
                </c:pt>
                <c:pt idx="476">
                  <c:v>25323</c:v>
                </c:pt>
                <c:pt idx="477">
                  <c:v>25326</c:v>
                </c:pt>
                <c:pt idx="478">
                  <c:v>25331</c:v>
                </c:pt>
                <c:pt idx="479">
                  <c:v>25332</c:v>
                </c:pt>
                <c:pt idx="480">
                  <c:v>25337</c:v>
                </c:pt>
                <c:pt idx="481">
                  <c:v>25337</c:v>
                </c:pt>
                <c:pt idx="482">
                  <c:v>25348</c:v>
                </c:pt>
                <c:pt idx="483">
                  <c:v>25355</c:v>
                </c:pt>
                <c:pt idx="484">
                  <c:v>25362</c:v>
                </c:pt>
                <c:pt idx="485">
                  <c:v>25364</c:v>
                </c:pt>
                <c:pt idx="486">
                  <c:v>25374</c:v>
                </c:pt>
                <c:pt idx="487">
                  <c:v>25377</c:v>
                </c:pt>
                <c:pt idx="488">
                  <c:v>25377</c:v>
                </c:pt>
                <c:pt idx="489">
                  <c:v>25381</c:v>
                </c:pt>
                <c:pt idx="490">
                  <c:v>25387</c:v>
                </c:pt>
                <c:pt idx="491">
                  <c:v>25394</c:v>
                </c:pt>
                <c:pt idx="492">
                  <c:v>25401</c:v>
                </c:pt>
                <c:pt idx="493">
                  <c:v>25407</c:v>
                </c:pt>
                <c:pt idx="494">
                  <c:v>25408</c:v>
                </c:pt>
                <c:pt idx="495">
                  <c:v>25410</c:v>
                </c:pt>
                <c:pt idx="496">
                  <c:v>25413</c:v>
                </c:pt>
                <c:pt idx="497">
                  <c:v>25421</c:v>
                </c:pt>
                <c:pt idx="498">
                  <c:v>25425</c:v>
                </c:pt>
                <c:pt idx="499">
                  <c:v>25428</c:v>
                </c:pt>
                <c:pt idx="500">
                  <c:v>25436</c:v>
                </c:pt>
                <c:pt idx="501">
                  <c:v>25437</c:v>
                </c:pt>
                <c:pt idx="502">
                  <c:v>25441</c:v>
                </c:pt>
                <c:pt idx="503">
                  <c:v>25462</c:v>
                </c:pt>
                <c:pt idx="504">
                  <c:v>25475</c:v>
                </c:pt>
                <c:pt idx="505">
                  <c:v>25486</c:v>
                </c:pt>
                <c:pt idx="506">
                  <c:v>25508</c:v>
                </c:pt>
                <c:pt idx="507">
                  <c:v>25524</c:v>
                </c:pt>
                <c:pt idx="508">
                  <c:v>25556</c:v>
                </c:pt>
                <c:pt idx="509">
                  <c:v>25562</c:v>
                </c:pt>
                <c:pt idx="510">
                  <c:v>25607</c:v>
                </c:pt>
                <c:pt idx="511">
                  <c:v>25645</c:v>
                </c:pt>
                <c:pt idx="512">
                  <c:v>25684</c:v>
                </c:pt>
                <c:pt idx="513">
                  <c:v>25709</c:v>
                </c:pt>
                <c:pt idx="514">
                  <c:v>25756</c:v>
                </c:pt>
                <c:pt idx="515">
                  <c:v>25760</c:v>
                </c:pt>
                <c:pt idx="516">
                  <c:v>25766</c:v>
                </c:pt>
                <c:pt idx="517">
                  <c:v>25808</c:v>
                </c:pt>
                <c:pt idx="518">
                  <c:v>25861</c:v>
                </c:pt>
                <c:pt idx="519">
                  <c:v>25894</c:v>
                </c:pt>
                <c:pt idx="520">
                  <c:v>25915</c:v>
                </c:pt>
                <c:pt idx="521">
                  <c:v>25972</c:v>
                </c:pt>
                <c:pt idx="522">
                  <c:v>25992</c:v>
                </c:pt>
                <c:pt idx="523">
                  <c:v>26007</c:v>
                </c:pt>
                <c:pt idx="524">
                  <c:v>26096</c:v>
                </c:pt>
                <c:pt idx="525">
                  <c:v>26147</c:v>
                </c:pt>
                <c:pt idx="526">
                  <c:v>26177</c:v>
                </c:pt>
                <c:pt idx="527">
                  <c:v>26218</c:v>
                </c:pt>
                <c:pt idx="528">
                  <c:v>26283</c:v>
                </c:pt>
                <c:pt idx="529">
                  <c:v>26303</c:v>
                </c:pt>
                <c:pt idx="530">
                  <c:v>26319</c:v>
                </c:pt>
                <c:pt idx="531">
                  <c:v>26380</c:v>
                </c:pt>
                <c:pt idx="532">
                  <c:v>26434</c:v>
                </c:pt>
                <c:pt idx="533">
                  <c:v>26484</c:v>
                </c:pt>
                <c:pt idx="534">
                  <c:v>26565</c:v>
                </c:pt>
                <c:pt idx="535">
                  <c:v>26603</c:v>
                </c:pt>
                <c:pt idx="536">
                  <c:v>26611</c:v>
                </c:pt>
                <c:pt idx="537">
                  <c:v>26625</c:v>
                </c:pt>
                <c:pt idx="538">
                  <c:v>26664</c:v>
                </c:pt>
                <c:pt idx="539">
                  <c:v>26726</c:v>
                </c:pt>
                <c:pt idx="540">
                  <c:v>26773</c:v>
                </c:pt>
                <c:pt idx="541">
                  <c:v>26795</c:v>
                </c:pt>
                <c:pt idx="542">
                  <c:v>26835</c:v>
                </c:pt>
                <c:pt idx="543">
                  <c:v>26846</c:v>
                </c:pt>
                <c:pt idx="544">
                  <c:v>26851</c:v>
                </c:pt>
                <c:pt idx="545">
                  <c:v>26894</c:v>
                </c:pt>
                <c:pt idx="546">
                  <c:v>26918</c:v>
                </c:pt>
                <c:pt idx="547">
                  <c:v>26952</c:v>
                </c:pt>
                <c:pt idx="548">
                  <c:v>26969</c:v>
                </c:pt>
                <c:pt idx="549">
                  <c:v>26989</c:v>
                </c:pt>
                <c:pt idx="550">
                  <c:v>26999</c:v>
                </c:pt>
                <c:pt idx="551">
                  <c:v>27006</c:v>
                </c:pt>
                <c:pt idx="552">
                  <c:v>27036</c:v>
                </c:pt>
                <c:pt idx="553">
                  <c:v>27092</c:v>
                </c:pt>
                <c:pt idx="554">
                  <c:v>27111</c:v>
                </c:pt>
                <c:pt idx="555">
                  <c:v>27137</c:v>
                </c:pt>
                <c:pt idx="556">
                  <c:v>27155</c:v>
                </c:pt>
                <c:pt idx="557">
                  <c:v>27157</c:v>
                </c:pt>
                <c:pt idx="558">
                  <c:v>27160</c:v>
                </c:pt>
                <c:pt idx="559">
                  <c:v>27181</c:v>
                </c:pt>
                <c:pt idx="560">
                  <c:v>27197</c:v>
                </c:pt>
                <c:pt idx="561">
                  <c:v>27225</c:v>
                </c:pt>
                <c:pt idx="562">
                  <c:v>27240</c:v>
                </c:pt>
                <c:pt idx="563">
                  <c:v>27258</c:v>
                </c:pt>
                <c:pt idx="564">
                  <c:v>27263</c:v>
                </c:pt>
                <c:pt idx="565">
                  <c:v>27268</c:v>
                </c:pt>
                <c:pt idx="566">
                  <c:v>27292</c:v>
                </c:pt>
                <c:pt idx="567">
                  <c:v>27316</c:v>
                </c:pt>
                <c:pt idx="568">
                  <c:v>27338</c:v>
                </c:pt>
                <c:pt idx="569">
                  <c:v>27363</c:v>
                </c:pt>
                <c:pt idx="570">
                  <c:v>27387</c:v>
                </c:pt>
                <c:pt idx="571">
                  <c:v>27394</c:v>
                </c:pt>
                <c:pt idx="572">
                  <c:v>27399</c:v>
                </c:pt>
                <c:pt idx="573">
                  <c:v>27418</c:v>
                </c:pt>
                <c:pt idx="574">
                  <c:v>27427</c:v>
                </c:pt>
                <c:pt idx="575">
                  <c:v>27448</c:v>
                </c:pt>
                <c:pt idx="576">
                  <c:v>27454</c:v>
                </c:pt>
                <c:pt idx="577">
                  <c:v>27478</c:v>
                </c:pt>
                <c:pt idx="578">
                  <c:v>27489</c:v>
                </c:pt>
                <c:pt idx="579">
                  <c:v>27491</c:v>
                </c:pt>
                <c:pt idx="580">
                  <c:v>27513</c:v>
                </c:pt>
                <c:pt idx="581">
                  <c:v>27530</c:v>
                </c:pt>
                <c:pt idx="582">
                  <c:v>27539</c:v>
                </c:pt>
                <c:pt idx="583">
                  <c:v>27540</c:v>
                </c:pt>
                <c:pt idx="584">
                  <c:v>27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List1!$C$2:$C$586</c:f>
              <c:numCache>
                <c:formatCode>General</c:formatCode>
                <c:ptCount val="585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7</c:v>
                </c:pt>
                <c:pt idx="14">
                  <c:v>19</c:v>
                </c:pt>
                <c:pt idx="15">
                  <c:v>21</c:v>
                </c:pt>
                <c:pt idx="16">
                  <c:v>23</c:v>
                </c:pt>
                <c:pt idx="17">
                  <c:v>25</c:v>
                </c:pt>
                <c:pt idx="18">
                  <c:v>27</c:v>
                </c:pt>
                <c:pt idx="19">
                  <c:v>31</c:v>
                </c:pt>
                <c:pt idx="20">
                  <c:v>37</c:v>
                </c:pt>
                <c:pt idx="21">
                  <c:v>44</c:v>
                </c:pt>
                <c:pt idx="22">
                  <c:v>45</c:v>
                </c:pt>
                <c:pt idx="23">
                  <c:v>49</c:v>
                </c:pt>
                <c:pt idx="24">
                  <c:v>61</c:v>
                </c:pt>
                <c:pt idx="25">
                  <c:v>68</c:v>
                </c:pt>
                <c:pt idx="26">
                  <c:v>70</c:v>
                </c:pt>
                <c:pt idx="27">
                  <c:v>76</c:v>
                </c:pt>
                <c:pt idx="28">
                  <c:v>103</c:v>
                </c:pt>
                <c:pt idx="29">
                  <c:v>113</c:v>
                </c:pt>
                <c:pt idx="30">
                  <c:v>143</c:v>
                </c:pt>
                <c:pt idx="31">
                  <c:v>242</c:v>
                </c:pt>
                <c:pt idx="32">
                  <c:v>275</c:v>
                </c:pt>
                <c:pt idx="33">
                  <c:v>307</c:v>
                </c:pt>
                <c:pt idx="34">
                  <c:v>416</c:v>
                </c:pt>
                <c:pt idx="35">
                  <c:v>467</c:v>
                </c:pt>
                <c:pt idx="36">
                  <c:v>512</c:v>
                </c:pt>
                <c:pt idx="37">
                  <c:v>600</c:v>
                </c:pt>
                <c:pt idx="38">
                  <c:v>694</c:v>
                </c:pt>
                <c:pt idx="39">
                  <c:v>745</c:v>
                </c:pt>
                <c:pt idx="40">
                  <c:v>771</c:v>
                </c:pt>
                <c:pt idx="41">
                  <c:v>949</c:v>
                </c:pt>
                <c:pt idx="42">
                  <c:v>1113</c:v>
                </c:pt>
                <c:pt idx="43">
                  <c:v>1312</c:v>
                </c:pt>
                <c:pt idx="44">
                  <c:v>1526</c:v>
                </c:pt>
                <c:pt idx="45">
                  <c:v>1743</c:v>
                </c:pt>
                <c:pt idx="46">
                  <c:v>1851</c:v>
                </c:pt>
                <c:pt idx="47">
                  <c:v>1902</c:v>
                </c:pt>
                <c:pt idx="48">
                  <c:v>2110</c:v>
                </c:pt>
                <c:pt idx="49">
                  <c:v>2315</c:v>
                </c:pt>
                <c:pt idx="50">
                  <c:v>2592</c:v>
                </c:pt>
                <c:pt idx="51">
                  <c:v>2834</c:v>
                </c:pt>
                <c:pt idx="52">
                  <c:v>3186</c:v>
                </c:pt>
                <c:pt idx="53">
                  <c:v>3376</c:v>
                </c:pt>
                <c:pt idx="54">
                  <c:v>3468</c:v>
                </c:pt>
                <c:pt idx="55">
                  <c:v>3862</c:v>
                </c:pt>
                <c:pt idx="56">
                  <c:v>4286</c:v>
                </c:pt>
                <c:pt idx="57">
                  <c:v>4425</c:v>
                </c:pt>
                <c:pt idx="58">
                  <c:v>4914</c:v>
                </c:pt>
                <c:pt idx="59">
                  <c:v>5264</c:v>
                </c:pt>
                <c:pt idx="60">
                  <c:v>5450</c:v>
                </c:pt>
                <c:pt idx="61">
                  <c:v>5571</c:v>
                </c:pt>
                <c:pt idx="62">
                  <c:v>5894</c:v>
                </c:pt>
                <c:pt idx="63">
                  <c:v>6142</c:v>
                </c:pt>
                <c:pt idx="64">
                  <c:v>6490</c:v>
                </c:pt>
                <c:pt idx="65">
                  <c:v>6786</c:v>
                </c:pt>
                <c:pt idx="66">
                  <c:v>7035</c:v>
                </c:pt>
                <c:pt idx="67">
                  <c:v>7160</c:v>
                </c:pt>
                <c:pt idx="68">
                  <c:v>7212</c:v>
                </c:pt>
                <c:pt idx="69">
                  <c:v>7422</c:v>
                </c:pt>
                <c:pt idx="70">
                  <c:v>7637</c:v>
                </c:pt>
                <c:pt idx="71">
                  <c:v>7917</c:v>
                </c:pt>
                <c:pt idx="72">
                  <c:v>8166</c:v>
                </c:pt>
                <c:pt idx="73">
                  <c:v>8379</c:v>
                </c:pt>
                <c:pt idx="74">
                  <c:v>8457</c:v>
                </c:pt>
                <c:pt idx="75">
                  <c:v>8491</c:v>
                </c:pt>
                <c:pt idx="76">
                  <c:v>8696</c:v>
                </c:pt>
                <c:pt idx="77">
                  <c:v>8750</c:v>
                </c:pt>
                <c:pt idx="78">
                  <c:v>8920</c:v>
                </c:pt>
                <c:pt idx="79">
                  <c:v>9060</c:v>
                </c:pt>
                <c:pt idx="80">
                  <c:v>9191</c:v>
                </c:pt>
                <c:pt idx="81">
                  <c:v>9232</c:v>
                </c:pt>
                <c:pt idx="82">
                  <c:v>9252</c:v>
                </c:pt>
                <c:pt idx="83">
                  <c:v>9405</c:v>
                </c:pt>
                <c:pt idx="84">
                  <c:v>9517</c:v>
                </c:pt>
                <c:pt idx="85">
                  <c:v>9615</c:v>
                </c:pt>
                <c:pt idx="86">
                  <c:v>9677</c:v>
                </c:pt>
                <c:pt idx="87">
                  <c:v>9761</c:v>
                </c:pt>
                <c:pt idx="88">
                  <c:v>9784</c:v>
                </c:pt>
                <c:pt idx="89">
                  <c:v>9801</c:v>
                </c:pt>
                <c:pt idx="90">
                  <c:v>9917</c:v>
                </c:pt>
                <c:pt idx="91">
                  <c:v>10010</c:v>
                </c:pt>
                <c:pt idx="92">
                  <c:v>10087</c:v>
                </c:pt>
                <c:pt idx="93">
                  <c:v>10152</c:v>
                </c:pt>
                <c:pt idx="94">
                  <c:v>10246</c:v>
                </c:pt>
                <c:pt idx="95">
                  <c:v>10288</c:v>
                </c:pt>
                <c:pt idx="96">
                  <c:v>10317</c:v>
                </c:pt>
                <c:pt idx="97">
                  <c:v>10441</c:v>
                </c:pt>
                <c:pt idx="98">
                  <c:v>10522</c:v>
                </c:pt>
                <c:pt idx="99">
                  <c:v>10589</c:v>
                </c:pt>
                <c:pt idx="100">
                  <c:v>10652</c:v>
                </c:pt>
                <c:pt idx="101">
                  <c:v>10733</c:v>
                </c:pt>
                <c:pt idx="102">
                  <c:v>10754</c:v>
                </c:pt>
                <c:pt idx="103">
                  <c:v>10772</c:v>
                </c:pt>
                <c:pt idx="104">
                  <c:v>10917</c:v>
                </c:pt>
                <c:pt idx="105">
                  <c:v>10990</c:v>
                </c:pt>
                <c:pt idx="106">
                  <c:v>11089</c:v>
                </c:pt>
                <c:pt idx="107">
                  <c:v>11145</c:v>
                </c:pt>
                <c:pt idx="108">
                  <c:v>11235</c:v>
                </c:pt>
                <c:pt idx="109">
                  <c:v>11268</c:v>
                </c:pt>
                <c:pt idx="110">
                  <c:v>11297</c:v>
                </c:pt>
                <c:pt idx="111">
                  <c:v>11468</c:v>
                </c:pt>
                <c:pt idx="112">
                  <c:v>11586</c:v>
                </c:pt>
                <c:pt idx="113">
                  <c:v>11716</c:v>
                </c:pt>
                <c:pt idx="114">
                  <c:v>11749</c:v>
                </c:pt>
                <c:pt idx="115">
                  <c:v>11800</c:v>
                </c:pt>
                <c:pt idx="116">
                  <c:v>11854</c:v>
                </c:pt>
                <c:pt idx="117">
                  <c:v>11903</c:v>
                </c:pt>
                <c:pt idx="118">
                  <c:v>12099</c:v>
                </c:pt>
                <c:pt idx="119">
                  <c:v>12247</c:v>
                </c:pt>
                <c:pt idx="120">
                  <c:v>12363</c:v>
                </c:pt>
                <c:pt idx="121">
                  <c:v>12461</c:v>
                </c:pt>
                <c:pt idx="122">
                  <c:v>12496</c:v>
                </c:pt>
                <c:pt idx="123">
                  <c:v>12563</c:v>
                </c:pt>
                <c:pt idx="124">
                  <c:v>12601</c:v>
                </c:pt>
                <c:pt idx="125">
                  <c:v>12916</c:v>
                </c:pt>
                <c:pt idx="126">
                  <c:v>13067</c:v>
                </c:pt>
                <c:pt idx="127">
                  <c:v>13191</c:v>
                </c:pt>
                <c:pt idx="128">
                  <c:v>13304</c:v>
                </c:pt>
                <c:pt idx="129">
                  <c:v>13439</c:v>
                </c:pt>
                <c:pt idx="130">
                  <c:v>13503</c:v>
                </c:pt>
                <c:pt idx="131">
                  <c:v>13530</c:v>
                </c:pt>
                <c:pt idx="132">
                  <c:v>13785</c:v>
                </c:pt>
                <c:pt idx="133">
                  <c:v>13888</c:v>
                </c:pt>
                <c:pt idx="134">
                  <c:v>14002</c:v>
                </c:pt>
                <c:pt idx="135">
                  <c:v>14063</c:v>
                </c:pt>
                <c:pt idx="136">
                  <c:v>14134</c:v>
                </c:pt>
                <c:pt idx="137">
                  <c:v>14171</c:v>
                </c:pt>
                <c:pt idx="138">
                  <c:v>14202</c:v>
                </c:pt>
                <c:pt idx="139">
                  <c:v>14337</c:v>
                </c:pt>
                <c:pt idx="140">
                  <c:v>14416</c:v>
                </c:pt>
                <c:pt idx="141">
                  <c:v>14490</c:v>
                </c:pt>
                <c:pt idx="142">
                  <c:v>14562</c:v>
                </c:pt>
                <c:pt idx="143">
                  <c:v>14646</c:v>
                </c:pt>
                <c:pt idx="144">
                  <c:v>14677</c:v>
                </c:pt>
                <c:pt idx="145">
                  <c:v>14692</c:v>
                </c:pt>
                <c:pt idx="146">
                  <c:v>14785</c:v>
                </c:pt>
                <c:pt idx="147">
                  <c:v>14864</c:v>
                </c:pt>
                <c:pt idx="148">
                  <c:v>14925</c:v>
                </c:pt>
                <c:pt idx="149">
                  <c:v>14962</c:v>
                </c:pt>
                <c:pt idx="150">
                  <c:v>15014</c:v>
                </c:pt>
                <c:pt idx="151">
                  <c:v>15046</c:v>
                </c:pt>
                <c:pt idx="152">
                  <c:v>15062</c:v>
                </c:pt>
                <c:pt idx="153">
                  <c:v>15146</c:v>
                </c:pt>
                <c:pt idx="154">
                  <c:v>15224</c:v>
                </c:pt>
                <c:pt idx="155">
                  <c:v>15286</c:v>
                </c:pt>
                <c:pt idx="156">
                  <c:v>15337</c:v>
                </c:pt>
                <c:pt idx="157">
                  <c:v>15392</c:v>
                </c:pt>
                <c:pt idx="158">
                  <c:v>15407</c:v>
                </c:pt>
                <c:pt idx="159">
                  <c:v>15427</c:v>
                </c:pt>
                <c:pt idx="160">
                  <c:v>15503</c:v>
                </c:pt>
                <c:pt idx="161">
                  <c:v>15526</c:v>
                </c:pt>
                <c:pt idx="162">
                  <c:v>15560</c:v>
                </c:pt>
                <c:pt idx="163">
                  <c:v>15602</c:v>
                </c:pt>
                <c:pt idx="164">
                  <c:v>15643</c:v>
                </c:pt>
                <c:pt idx="165">
                  <c:v>15659</c:v>
                </c:pt>
                <c:pt idx="166">
                  <c:v>15678</c:v>
                </c:pt>
                <c:pt idx="167">
                  <c:v>15747</c:v>
                </c:pt>
                <c:pt idx="168">
                  <c:v>15783</c:v>
                </c:pt>
                <c:pt idx="169">
                  <c:v>15823</c:v>
                </c:pt>
                <c:pt idx="170">
                  <c:v>15860</c:v>
                </c:pt>
                <c:pt idx="171">
                  <c:v>15904</c:v>
                </c:pt>
                <c:pt idx="172">
                  <c:v>15912</c:v>
                </c:pt>
                <c:pt idx="173">
                  <c:v>15935</c:v>
                </c:pt>
                <c:pt idx="174">
                  <c:v>16017</c:v>
                </c:pt>
                <c:pt idx="175">
                  <c:v>16067</c:v>
                </c:pt>
                <c:pt idx="176">
                  <c:v>16104</c:v>
                </c:pt>
                <c:pt idx="177">
                  <c:v>16140</c:v>
                </c:pt>
                <c:pt idx="178">
                  <c:v>16192</c:v>
                </c:pt>
                <c:pt idx="179">
                  <c:v>16204</c:v>
                </c:pt>
                <c:pt idx="180">
                  <c:v>16214</c:v>
                </c:pt>
                <c:pt idx="181">
                  <c:v>16282</c:v>
                </c:pt>
                <c:pt idx="182">
                  <c:v>16326</c:v>
                </c:pt>
                <c:pt idx="183">
                  <c:v>16386</c:v>
                </c:pt>
                <c:pt idx="184">
                  <c:v>16435</c:v>
                </c:pt>
                <c:pt idx="185">
                  <c:v>16473</c:v>
                </c:pt>
                <c:pt idx="186">
                  <c:v>16489</c:v>
                </c:pt>
                <c:pt idx="187">
                  <c:v>16503</c:v>
                </c:pt>
                <c:pt idx="188">
                  <c:v>16569</c:v>
                </c:pt>
                <c:pt idx="189">
                  <c:v>16612</c:v>
                </c:pt>
                <c:pt idx="190">
                  <c:v>16643</c:v>
                </c:pt>
                <c:pt idx="191">
                  <c:v>16673</c:v>
                </c:pt>
                <c:pt idx="192">
                  <c:v>16694</c:v>
                </c:pt>
                <c:pt idx="193">
                  <c:v>16706</c:v>
                </c:pt>
                <c:pt idx="194">
                  <c:v>16713</c:v>
                </c:pt>
                <c:pt idx="195">
                  <c:v>16756</c:v>
                </c:pt>
                <c:pt idx="196">
                  <c:v>16785</c:v>
                </c:pt>
                <c:pt idx="197">
                  <c:v>16812</c:v>
                </c:pt>
                <c:pt idx="198">
                  <c:v>16828</c:v>
                </c:pt>
                <c:pt idx="199">
                  <c:v>16853</c:v>
                </c:pt>
                <c:pt idx="200">
                  <c:v>16855</c:v>
                </c:pt>
                <c:pt idx="201">
                  <c:v>16861</c:v>
                </c:pt>
                <c:pt idx="202">
                  <c:v>16900</c:v>
                </c:pt>
                <c:pt idx="203">
                  <c:v>16919</c:v>
                </c:pt>
                <c:pt idx="204">
                  <c:v>16930</c:v>
                </c:pt>
                <c:pt idx="205">
                  <c:v>16942</c:v>
                </c:pt>
                <c:pt idx="206">
                  <c:v>16960</c:v>
                </c:pt>
                <c:pt idx="207">
                  <c:v>16963</c:v>
                </c:pt>
                <c:pt idx="208">
                  <c:v>16966</c:v>
                </c:pt>
                <c:pt idx="209">
                  <c:v>16991</c:v>
                </c:pt>
                <c:pt idx="210">
                  <c:v>17011</c:v>
                </c:pt>
                <c:pt idx="211">
                  <c:v>17026</c:v>
                </c:pt>
                <c:pt idx="212">
                  <c:v>17039</c:v>
                </c:pt>
                <c:pt idx="213">
                  <c:v>17044</c:v>
                </c:pt>
                <c:pt idx="214">
                  <c:v>17048</c:v>
                </c:pt>
                <c:pt idx="215">
                  <c:v>17050</c:v>
                </c:pt>
                <c:pt idx="216">
                  <c:v>17058</c:v>
                </c:pt>
                <c:pt idx="217">
                  <c:v>17080</c:v>
                </c:pt>
                <c:pt idx="218">
                  <c:v>17097</c:v>
                </c:pt>
                <c:pt idx="219">
                  <c:v>17115</c:v>
                </c:pt>
                <c:pt idx="220">
                  <c:v>17123</c:v>
                </c:pt>
                <c:pt idx="221">
                  <c:v>17130</c:v>
                </c:pt>
                <c:pt idx="222">
                  <c:v>17131</c:v>
                </c:pt>
                <c:pt idx="223">
                  <c:v>17140</c:v>
                </c:pt>
                <c:pt idx="224">
                  <c:v>17149</c:v>
                </c:pt>
                <c:pt idx="225">
                  <c:v>17154</c:v>
                </c:pt>
                <c:pt idx="226">
                  <c:v>17161</c:v>
                </c:pt>
                <c:pt idx="227">
                  <c:v>17168</c:v>
                </c:pt>
                <c:pt idx="228">
                  <c:v>17169</c:v>
                </c:pt>
                <c:pt idx="229">
                  <c:v>17170</c:v>
                </c:pt>
                <c:pt idx="230">
                  <c:v>17183</c:v>
                </c:pt>
                <c:pt idx="231">
                  <c:v>17190</c:v>
                </c:pt>
                <c:pt idx="232">
                  <c:v>17197</c:v>
                </c:pt>
                <c:pt idx="233">
                  <c:v>17200</c:v>
                </c:pt>
                <c:pt idx="234">
                  <c:v>17203</c:v>
                </c:pt>
                <c:pt idx="235">
                  <c:v>17204</c:v>
                </c:pt>
                <c:pt idx="236">
                  <c:v>17205</c:v>
                </c:pt>
                <c:pt idx="237">
                  <c:v>17214</c:v>
                </c:pt>
                <c:pt idx="238">
                  <c:v>17223</c:v>
                </c:pt>
                <c:pt idx="239">
                  <c:v>17227</c:v>
                </c:pt>
                <c:pt idx="240">
                  <c:v>17230</c:v>
                </c:pt>
                <c:pt idx="241">
                  <c:v>17236</c:v>
                </c:pt>
                <c:pt idx="242">
                  <c:v>17237</c:v>
                </c:pt>
                <c:pt idx="243">
                  <c:v>17239</c:v>
                </c:pt>
                <c:pt idx="244">
                  <c:v>17243</c:v>
                </c:pt>
                <c:pt idx="245">
                  <c:v>17246</c:v>
                </c:pt>
                <c:pt idx="246">
                  <c:v>17247</c:v>
                </c:pt>
                <c:pt idx="247">
                  <c:v>17252</c:v>
                </c:pt>
                <c:pt idx="248">
                  <c:v>17254</c:v>
                </c:pt>
                <c:pt idx="249">
                  <c:v>17256</c:v>
                </c:pt>
                <c:pt idx="250">
                  <c:v>17256</c:v>
                </c:pt>
                <c:pt idx="251">
                  <c:v>17259</c:v>
                </c:pt>
                <c:pt idx="252">
                  <c:v>17263</c:v>
                </c:pt>
                <c:pt idx="253">
                  <c:v>17263</c:v>
                </c:pt>
                <c:pt idx="254">
                  <c:v>17265</c:v>
                </c:pt>
                <c:pt idx="255">
                  <c:v>17266</c:v>
                </c:pt>
                <c:pt idx="256">
                  <c:v>17266</c:v>
                </c:pt>
                <c:pt idx="257">
                  <c:v>17266</c:v>
                </c:pt>
                <c:pt idx="258">
                  <c:v>17272</c:v>
                </c:pt>
                <c:pt idx="259">
                  <c:v>17277</c:v>
                </c:pt>
                <c:pt idx="260">
                  <c:v>17279</c:v>
                </c:pt>
                <c:pt idx="261">
                  <c:v>17283</c:v>
                </c:pt>
                <c:pt idx="262">
                  <c:v>17284</c:v>
                </c:pt>
                <c:pt idx="263">
                  <c:v>17284</c:v>
                </c:pt>
                <c:pt idx="264">
                  <c:v>17284</c:v>
                </c:pt>
                <c:pt idx="265">
                  <c:v>17286</c:v>
                </c:pt>
                <c:pt idx="266">
                  <c:v>17287</c:v>
                </c:pt>
                <c:pt idx="267">
                  <c:v>17288</c:v>
                </c:pt>
                <c:pt idx="268">
                  <c:v>17290</c:v>
                </c:pt>
                <c:pt idx="269">
                  <c:v>17290</c:v>
                </c:pt>
                <c:pt idx="270">
                  <c:v>17290</c:v>
                </c:pt>
                <c:pt idx="271">
                  <c:v>17290</c:v>
                </c:pt>
                <c:pt idx="272">
                  <c:v>17291</c:v>
                </c:pt>
                <c:pt idx="273">
                  <c:v>17291</c:v>
                </c:pt>
                <c:pt idx="274">
                  <c:v>17291</c:v>
                </c:pt>
                <c:pt idx="275">
                  <c:v>17293</c:v>
                </c:pt>
                <c:pt idx="276">
                  <c:v>17293</c:v>
                </c:pt>
                <c:pt idx="277">
                  <c:v>17293</c:v>
                </c:pt>
                <c:pt idx="278">
                  <c:v>17293</c:v>
                </c:pt>
                <c:pt idx="279">
                  <c:v>17293</c:v>
                </c:pt>
                <c:pt idx="280">
                  <c:v>17293</c:v>
                </c:pt>
                <c:pt idx="281">
                  <c:v>17293</c:v>
                </c:pt>
                <c:pt idx="282">
                  <c:v>17293</c:v>
                </c:pt>
                <c:pt idx="283">
                  <c:v>17293</c:v>
                </c:pt>
                <c:pt idx="284">
                  <c:v>17293</c:v>
                </c:pt>
                <c:pt idx="285">
                  <c:v>17293</c:v>
                </c:pt>
                <c:pt idx="286">
                  <c:v>17293</c:v>
                </c:pt>
                <c:pt idx="287">
                  <c:v>17293</c:v>
                </c:pt>
                <c:pt idx="288">
                  <c:v>17293</c:v>
                </c:pt>
                <c:pt idx="289">
                  <c:v>17293</c:v>
                </c:pt>
                <c:pt idx="290">
                  <c:v>17293</c:v>
                </c:pt>
                <c:pt idx="291">
                  <c:v>17293</c:v>
                </c:pt>
                <c:pt idx="292">
                  <c:v>17293</c:v>
                </c:pt>
                <c:pt idx="293">
                  <c:v>17293</c:v>
                </c:pt>
                <c:pt idx="294">
                  <c:v>17293</c:v>
                </c:pt>
                <c:pt idx="295">
                  <c:v>17293</c:v>
                </c:pt>
                <c:pt idx="296">
                  <c:v>17294</c:v>
                </c:pt>
                <c:pt idx="297">
                  <c:v>17295</c:v>
                </c:pt>
                <c:pt idx="298">
                  <c:v>17295</c:v>
                </c:pt>
                <c:pt idx="299">
                  <c:v>17295</c:v>
                </c:pt>
                <c:pt idx="300">
                  <c:v>17296</c:v>
                </c:pt>
                <c:pt idx="301">
                  <c:v>17296</c:v>
                </c:pt>
                <c:pt idx="302">
                  <c:v>17297</c:v>
                </c:pt>
                <c:pt idx="303">
                  <c:v>17297</c:v>
                </c:pt>
                <c:pt idx="304">
                  <c:v>17297</c:v>
                </c:pt>
                <c:pt idx="305">
                  <c:v>17297</c:v>
                </c:pt>
                <c:pt idx="306">
                  <c:v>17297</c:v>
                </c:pt>
                <c:pt idx="307">
                  <c:v>17297</c:v>
                </c:pt>
                <c:pt idx="308">
                  <c:v>17297</c:v>
                </c:pt>
                <c:pt idx="309">
                  <c:v>17298</c:v>
                </c:pt>
                <c:pt idx="310">
                  <c:v>17299</c:v>
                </c:pt>
                <c:pt idx="311">
                  <c:v>17299</c:v>
                </c:pt>
                <c:pt idx="312">
                  <c:v>17299</c:v>
                </c:pt>
                <c:pt idx="313">
                  <c:v>17300</c:v>
                </c:pt>
                <c:pt idx="314">
                  <c:v>17300</c:v>
                </c:pt>
                <c:pt idx="315">
                  <c:v>17300</c:v>
                </c:pt>
                <c:pt idx="316">
                  <c:v>17300</c:v>
                </c:pt>
                <c:pt idx="317">
                  <c:v>17300</c:v>
                </c:pt>
                <c:pt idx="318">
                  <c:v>17300</c:v>
                </c:pt>
                <c:pt idx="319">
                  <c:v>17300</c:v>
                </c:pt>
                <c:pt idx="320">
                  <c:v>17300</c:v>
                </c:pt>
                <c:pt idx="321">
                  <c:v>17300</c:v>
                </c:pt>
                <c:pt idx="322">
                  <c:v>17300</c:v>
                </c:pt>
                <c:pt idx="323">
                  <c:v>17301</c:v>
                </c:pt>
                <c:pt idx="324">
                  <c:v>17301</c:v>
                </c:pt>
                <c:pt idx="325">
                  <c:v>17301</c:v>
                </c:pt>
                <c:pt idx="326">
                  <c:v>17301</c:v>
                </c:pt>
                <c:pt idx="327">
                  <c:v>17301</c:v>
                </c:pt>
                <c:pt idx="328">
                  <c:v>17301</c:v>
                </c:pt>
                <c:pt idx="329">
                  <c:v>17302</c:v>
                </c:pt>
                <c:pt idx="330">
                  <c:v>17304</c:v>
                </c:pt>
                <c:pt idx="331">
                  <c:v>17304</c:v>
                </c:pt>
                <c:pt idx="332">
                  <c:v>17304</c:v>
                </c:pt>
                <c:pt idx="333">
                  <c:v>17304</c:v>
                </c:pt>
                <c:pt idx="334">
                  <c:v>17304</c:v>
                </c:pt>
                <c:pt idx="335">
                  <c:v>17304</c:v>
                </c:pt>
                <c:pt idx="336">
                  <c:v>17304</c:v>
                </c:pt>
                <c:pt idx="337">
                  <c:v>17304</c:v>
                </c:pt>
                <c:pt idx="338">
                  <c:v>17304</c:v>
                </c:pt>
                <c:pt idx="339">
                  <c:v>17304</c:v>
                </c:pt>
                <c:pt idx="340">
                  <c:v>17304</c:v>
                </c:pt>
                <c:pt idx="341">
                  <c:v>17305</c:v>
                </c:pt>
                <c:pt idx="342">
                  <c:v>17305</c:v>
                </c:pt>
                <c:pt idx="343">
                  <c:v>17305</c:v>
                </c:pt>
                <c:pt idx="344">
                  <c:v>17306</c:v>
                </c:pt>
                <c:pt idx="345">
                  <c:v>17306</c:v>
                </c:pt>
                <c:pt idx="346">
                  <c:v>17306</c:v>
                </c:pt>
                <c:pt idx="347">
                  <c:v>17306</c:v>
                </c:pt>
                <c:pt idx="348">
                  <c:v>17307</c:v>
                </c:pt>
                <c:pt idx="349">
                  <c:v>17307</c:v>
                </c:pt>
                <c:pt idx="350">
                  <c:v>17307</c:v>
                </c:pt>
                <c:pt idx="351">
                  <c:v>17307</c:v>
                </c:pt>
                <c:pt idx="352">
                  <c:v>17307</c:v>
                </c:pt>
                <c:pt idx="353">
                  <c:v>17307</c:v>
                </c:pt>
                <c:pt idx="354">
                  <c:v>17307</c:v>
                </c:pt>
                <c:pt idx="355">
                  <c:v>17307</c:v>
                </c:pt>
                <c:pt idx="356">
                  <c:v>17308</c:v>
                </c:pt>
                <c:pt idx="357">
                  <c:v>17308</c:v>
                </c:pt>
                <c:pt idx="358">
                  <c:v>17308</c:v>
                </c:pt>
                <c:pt idx="359">
                  <c:v>17309</c:v>
                </c:pt>
                <c:pt idx="360">
                  <c:v>17310</c:v>
                </c:pt>
                <c:pt idx="361">
                  <c:v>17311</c:v>
                </c:pt>
                <c:pt idx="362">
                  <c:v>17312</c:v>
                </c:pt>
                <c:pt idx="363">
                  <c:v>17312</c:v>
                </c:pt>
                <c:pt idx="364">
                  <c:v>17312</c:v>
                </c:pt>
                <c:pt idx="365">
                  <c:v>17317</c:v>
                </c:pt>
                <c:pt idx="366">
                  <c:v>17318</c:v>
                </c:pt>
                <c:pt idx="367">
                  <c:v>17319</c:v>
                </c:pt>
                <c:pt idx="368">
                  <c:v>17319</c:v>
                </c:pt>
                <c:pt idx="369">
                  <c:v>17319</c:v>
                </c:pt>
                <c:pt idx="370">
                  <c:v>17320</c:v>
                </c:pt>
                <c:pt idx="371">
                  <c:v>17322</c:v>
                </c:pt>
                <c:pt idx="372">
                  <c:v>17323</c:v>
                </c:pt>
                <c:pt idx="373">
                  <c:v>17324</c:v>
                </c:pt>
                <c:pt idx="374">
                  <c:v>17325</c:v>
                </c:pt>
                <c:pt idx="375">
                  <c:v>17325</c:v>
                </c:pt>
                <c:pt idx="376">
                  <c:v>17326</c:v>
                </c:pt>
                <c:pt idx="377">
                  <c:v>17326</c:v>
                </c:pt>
                <c:pt idx="378">
                  <c:v>17327</c:v>
                </c:pt>
                <c:pt idx="379">
                  <c:v>17327</c:v>
                </c:pt>
                <c:pt idx="380">
                  <c:v>17327</c:v>
                </c:pt>
                <c:pt idx="381">
                  <c:v>17327</c:v>
                </c:pt>
                <c:pt idx="382">
                  <c:v>17328</c:v>
                </c:pt>
                <c:pt idx="383">
                  <c:v>17328</c:v>
                </c:pt>
                <c:pt idx="384">
                  <c:v>17332</c:v>
                </c:pt>
                <c:pt idx="385">
                  <c:v>17336</c:v>
                </c:pt>
                <c:pt idx="386">
                  <c:v>17338</c:v>
                </c:pt>
                <c:pt idx="387">
                  <c:v>17338</c:v>
                </c:pt>
                <c:pt idx="388">
                  <c:v>17338</c:v>
                </c:pt>
                <c:pt idx="389">
                  <c:v>17339</c:v>
                </c:pt>
                <c:pt idx="390">
                  <c:v>17340</c:v>
                </c:pt>
                <c:pt idx="391">
                  <c:v>17344</c:v>
                </c:pt>
                <c:pt idx="392">
                  <c:v>17345</c:v>
                </c:pt>
                <c:pt idx="393">
                  <c:v>17351</c:v>
                </c:pt>
                <c:pt idx="394">
                  <c:v>17353</c:v>
                </c:pt>
                <c:pt idx="395">
                  <c:v>17355</c:v>
                </c:pt>
                <c:pt idx="396">
                  <c:v>17355</c:v>
                </c:pt>
                <c:pt idx="397">
                  <c:v>17355</c:v>
                </c:pt>
                <c:pt idx="398">
                  <c:v>17359</c:v>
                </c:pt>
                <c:pt idx="399">
                  <c:v>17364</c:v>
                </c:pt>
                <c:pt idx="400">
                  <c:v>17366</c:v>
                </c:pt>
                <c:pt idx="401">
                  <c:v>17367</c:v>
                </c:pt>
                <c:pt idx="402">
                  <c:v>17369</c:v>
                </c:pt>
                <c:pt idx="403">
                  <c:v>17370</c:v>
                </c:pt>
                <c:pt idx="404">
                  <c:v>17370</c:v>
                </c:pt>
                <c:pt idx="405">
                  <c:v>17372</c:v>
                </c:pt>
                <c:pt idx="406">
                  <c:v>17375</c:v>
                </c:pt>
                <c:pt idx="407">
                  <c:v>17376</c:v>
                </c:pt>
                <c:pt idx="408">
                  <c:v>17379</c:v>
                </c:pt>
                <c:pt idx="409">
                  <c:v>17386</c:v>
                </c:pt>
                <c:pt idx="410">
                  <c:v>17388</c:v>
                </c:pt>
                <c:pt idx="411">
                  <c:v>17389</c:v>
                </c:pt>
                <c:pt idx="412">
                  <c:v>17401</c:v>
                </c:pt>
                <c:pt idx="413">
                  <c:v>17409</c:v>
                </c:pt>
                <c:pt idx="414">
                  <c:v>17420</c:v>
                </c:pt>
                <c:pt idx="415">
                  <c:v>17427</c:v>
                </c:pt>
                <c:pt idx="416">
                  <c:v>17439</c:v>
                </c:pt>
                <c:pt idx="417">
                  <c:v>17439</c:v>
                </c:pt>
                <c:pt idx="418">
                  <c:v>17443</c:v>
                </c:pt>
                <c:pt idx="419">
                  <c:v>17463</c:v>
                </c:pt>
                <c:pt idx="420">
                  <c:v>17469</c:v>
                </c:pt>
                <c:pt idx="421">
                  <c:v>17487</c:v>
                </c:pt>
                <c:pt idx="422">
                  <c:v>17490</c:v>
                </c:pt>
                <c:pt idx="423">
                  <c:v>17498</c:v>
                </c:pt>
                <c:pt idx="424">
                  <c:v>17503</c:v>
                </c:pt>
                <c:pt idx="425">
                  <c:v>17507</c:v>
                </c:pt>
                <c:pt idx="426">
                  <c:v>17548</c:v>
                </c:pt>
                <c:pt idx="427">
                  <c:v>17574</c:v>
                </c:pt>
                <c:pt idx="428">
                  <c:v>17595</c:v>
                </c:pt>
                <c:pt idx="429">
                  <c:v>17620</c:v>
                </c:pt>
                <c:pt idx="430">
                  <c:v>17647</c:v>
                </c:pt>
                <c:pt idx="431">
                  <c:v>17660</c:v>
                </c:pt>
                <c:pt idx="432">
                  <c:v>17665</c:v>
                </c:pt>
                <c:pt idx="433">
                  <c:v>17720</c:v>
                </c:pt>
                <c:pt idx="434">
                  <c:v>17750</c:v>
                </c:pt>
                <c:pt idx="435">
                  <c:v>17781</c:v>
                </c:pt>
                <c:pt idx="436">
                  <c:v>17819</c:v>
                </c:pt>
                <c:pt idx="437">
                  <c:v>17854</c:v>
                </c:pt>
                <c:pt idx="438">
                  <c:v>17874</c:v>
                </c:pt>
                <c:pt idx="439">
                  <c:v>17888</c:v>
                </c:pt>
                <c:pt idx="440">
                  <c:v>17947</c:v>
                </c:pt>
                <c:pt idx="441">
                  <c:v>17982</c:v>
                </c:pt>
                <c:pt idx="442">
                  <c:v>17997</c:v>
                </c:pt>
                <c:pt idx="443">
                  <c:v>18040</c:v>
                </c:pt>
                <c:pt idx="444">
                  <c:v>18093</c:v>
                </c:pt>
                <c:pt idx="445">
                  <c:v>18106</c:v>
                </c:pt>
                <c:pt idx="446">
                  <c:v>18113</c:v>
                </c:pt>
                <c:pt idx="447">
                  <c:v>18188</c:v>
                </c:pt>
                <c:pt idx="448">
                  <c:v>18232</c:v>
                </c:pt>
                <c:pt idx="449">
                  <c:v>18281</c:v>
                </c:pt>
                <c:pt idx="450">
                  <c:v>18330</c:v>
                </c:pt>
                <c:pt idx="451">
                  <c:v>18381</c:v>
                </c:pt>
                <c:pt idx="452">
                  <c:v>18403</c:v>
                </c:pt>
                <c:pt idx="453">
                  <c:v>18410</c:v>
                </c:pt>
                <c:pt idx="454">
                  <c:v>18454</c:v>
                </c:pt>
                <c:pt idx="455">
                  <c:v>18503</c:v>
                </c:pt>
                <c:pt idx="456">
                  <c:v>18546</c:v>
                </c:pt>
                <c:pt idx="457">
                  <c:v>18579</c:v>
                </c:pt>
                <c:pt idx="458">
                  <c:v>18609</c:v>
                </c:pt>
                <c:pt idx="459">
                  <c:v>18630</c:v>
                </c:pt>
                <c:pt idx="460">
                  <c:v>18640</c:v>
                </c:pt>
                <c:pt idx="461">
                  <c:v>18690</c:v>
                </c:pt>
                <c:pt idx="462">
                  <c:v>18727</c:v>
                </c:pt>
                <c:pt idx="463">
                  <c:v>18762</c:v>
                </c:pt>
                <c:pt idx="464">
                  <c:v>18789</c:v>
                </c:pt>
                <c:pt idx="465">
                  <c:v>18809</c:v>
                </c:pt>
                <c:pt idx="466">
                  <c:v>18822</c:v>
                </c:pt>
                <c:pt idx="467">
                  <c:v>18831</c:v>
                </c:pt>
                <c:pt idx="468">
                  <c:v>18866</c:v>
                </c:pt>
                <c:pt idx="469">
                  <c:v>18903</c:v>
                </c:pt>
                <c:pt idx="470">
                  <c:v>18930</c:v>
                </c:pt>
                <c:pt idx="471">
                  <c:v>18948</c:v>
                </c:pt>
                <c:pt idx="472">
                  <c:v>18964</c:v>
                </c:pt>
                <c:pt idx="473">
                  <c:v>18972</c:v>
                </c:pt>
                <c:pt idx="474">
                  <c:v>18982</c:v>
                </c:pt>
                <c:pt idx="475">
                  <c:v>19010</c:v>
                </c:pt>
                <c:pt idx="476">
                  <c:v>19023</c:v>
                </c:pt>
                <c:pt idx="477">
                  <c:v>19033</c:v>
                </c:pt>
                <c:pt idx="478">
                  <c:v>19037</c:v>
                </c:pt>
                <c:pt idx="479">
                  <c:v>19044</c:v>
                </c:pt>
                <c:pt idx="480">
                  <c:v>19047</c:v>
                </c:pt>
                <c:pt idx="481">
                  <c:v>19052</c:v>
                </c:pt>
                <c:pt idx="482">
                  <c:v>19062</c:v>
                </c:pt>
                <c:pt idx="483">
                  <c:v>19079</c:v>
                </c:pt>
                <c:pt idx="484">
                  <c:v>19089</c:v>
                </c:pt>
                <c:pt idx="485">
                  <c:v>19099</c:v>
                </c:pt>
                <c:pt idx="486">
                  <c:v>19105</c:v>
                </c:pt>
                <c:pt idx="487">
                  <c:v>19106</c:v>
                </c:pt>
                <c:pt idx="488">
                  <c:v>19111</c:v>
                </c:pt>
                <c:pt idx="489">
                  <c:v>19132</c:v>
                </c:pt>
                <c:pt idx="490">
                  <c:v>19146</c:v>
                </c:pt>
                <c:pt idx="491">
                  <c:v>19151</c:v>
                </c:pt>
                <c:pt idx="492">
                  <c:v>19160</c:v>
                </c:pt>
                <c:pt idx="493">
                  <c:v>19171</c:v>
                </c:pt>
                <c:pt idx="494">
                  <c:v>19174</c:v>
                </c:pt>
                <c:pt idx="495">
                  <c:v>19177</c:v>
                </c:pt>
                <c:pt idx="496">
                  <c:v>19195</c:v>
                </c:pt>
                <c:pt idx="497">
                  <c:v>19206</c:v>
                </c:pt>
                <c:pt idx="498">
                  <c:v>19215</c:v>
                </c:pt>
                <c:pt idx="499">
                  <c:v>19228</c:v>
                </c:pt>
                <c:pt idx="500">
                  <c:v>19241</c:v>
                </c:pt>
                <c:pt idx="501">
                  <c:v>19247</c:v>
                </c:pt>
                <c:pt idx="502">
                  <c:v>19258</c:v>
                </c:pt>
                <c:pt idx="503">
                  <c:v>19305</c:v>
                </c:pt>
                <c:pt idx="504">
                  <c:v>19341</c:v>
                </c:pt>
                <c:pt idx="505">
                  <c:v>19386</c:v>
                </c:pt>
                <c:pt idx="506">
                  <c:v>19434</c:v>
                </c:pt>
                <c:pt idx="507">
                  <c:v>19503</c:v>
                </c:pt>
                <c:pt idx="508">
                  <c:v>19523</c:v>
                </c:pt>
                <c:pt idx="509">
                  <c:v>19539</c:v>
                </c:pt>
                <c:pt idx="510">
                  <c:v>19638</c:v>
                </c:pt>
                <c:pt idx="511">
                  <c:v>19743</c:v>
                </c:pt>
                <c:pt idx="512">
                  <c:v>19844</c:v>
                </c:pt>
                <c:pt idx="513">
                  <c:v>19904</c:v>
                </c:pt>
                <c:pt idx="514">
                  <c:v>19976</c:v>
                </c:pt>
                <c:pt idx="515">
                  <c:v>20006</c:v>
                </c:pt>
                <c:pt idx="516">
                  <c:v>20038</c:v>
                </c:pt>
                <c:pt idx="517">
                  <c:v>20156</c:v>
                </c:pt>
                <c:pt idx="518">
                  <c:v>20274</c:v>
                </c:pt>
                <c:pt idx="519">
                  <c:v>20357</c:v>
                </c:pt>
                <c:pt idx="520">
                  <c:v>20428</c:v>
                </c:pt>
                <c:pt idx="521">
                  <c:v>20512</c:v>
                </c:pt>
                <c:pt idx="522">
                  <c:v>20544</c:v>
                </c:pt>
                <c:pt idx="523">
                  <c:v>20570</c:v>
                </c:pt>
                <c:pt idx="524">
                  <c:v>20703</c:v>
                </c:pt>
                <c:pt idx="525">
                  <c:v>20794</c:v>
                </c:pt>
                <c:pt idx="526">
                  <c:v>20859</c:v>
                </c:pt>
                <c:pt idx="527">
                  <c:v>20929</c:v>
                </c:pt>
                <c:pt idx="528">
                  <c:v>20980</c:v>
                </c:pt>
                <c:pt idx="529">
                  <c:v>21002</c:v>
                </c:pt>
                <c:pt idx="530">
                  <c:v>21029</c:v>
                </c:pt>
                <c:pt idx="531">
                  <c:v>21120</c:v>
                </c:pt>
                <c:pt idx="532">
                  <c:v>21195</c:v>
                </c:pt>
                <c:pt idx="533">
                  <c:v>21264</c:v>
                </c:pt>
                <c:pt idx="534">
                  <c:v>21304</c:v>
                </c:pt>
                <c:pt idx="535">
                  <c:v>21334</c:v>
                </c:pt>
                <c:pt idx="536">
                  <c:v>21358</c:v>
                </c:pt>
                <c:pt idx="537">
                  <c:v>21369</c:v>
                </c:pt>
                <c:pt idx="538">
                  <c:v>21436</c:v>
                </c:pt>
                <c:pt idx="539">
                  <c:v>21475</c:v>
                </c:pt>
                <c:pt idx="540">
                  <c:v>21515</c:v>
                </c:pt>
                <c:pt idx="541">
                  <c:v>21549</c:v>
                </c:pt>
                <c:pt idx="542">
                  <c:v>21575</c:v>
                </c:pt>
                <c:pt idx="543">
                  <c:v>21586</c:v>
                </c:pt>
                <c:pt idx="544">
                  <c:v>21598</c:v>
                </c:pt>
                <c:pt idx="545">
                  <c:v>21642</c:v>
                </c:pt>
                <c:pt idx="546">
                  <c:v>21674</c:v>
                </c:pt>
                <c:pt idx="547">
                  <c:v>21699</c:v>
                </c:pt>
                <c:pt idx="548">
                  <c:v>21720</c:v>
                </c:pt>
                <c:pt idx="549">
                  <c:v>21736</c:v>
                </c:pt>
                <c:pt idx="550">
                  <c:v>21748</c:v>
                </c:pt>
                <c:pt idx="551">
                  <c:v>21753</c:v>
                </c:pt>
                <c:pt idx="552">
                  <c:v>21799</c:v>
                </c:pt>
                <c:pt idx="553">
                  <c:v>21829</c:v>
                </c:pt>
                <c:pt idx="554">
                  <c:v>21859</c:v>
                </c:pt>
                <c:pt idx="555">
                  <c:v>21876</c:v>
                </c:pt>
                <c:pt idx="556">
                  <c:v>21907</c:v>
                </c:pt>
                <c:pt idx="557">
                  <c:v>21913</c:v>
                </c:pt>
                <c:pt idx="558">
                  <c:v>21922</c:v>
                </c:pt>
                <c:pt idx="559">
                  <c:v>21964</c:v>
                </c:pt>
                <c:pt idx="560">
                  <c:v>21992</c:v>
                </c:pt>
                <c:pt idx="561">
                  <c:v>22011</c:v>
                </c:pt>
                <c:pt idx="562">
                  <c:v>22027</c:v>
                </c:pt>
                <c:pt idx="563">
                  <c:v>22053</c:v>
                </c:pt>
                <c:pt idx="564">
                  <c:v>22060</c:v>
                </c:pt>
                <c:pt idx="565">
                  <c:v>22068</c:v>
                </c:pt>
                <c:pt idx="566">
                  <c:v>22114</c:v>
                </c:pt>
                <c:pt idx="567">
                  <c:v>22145</c:v>
                </c:pt>
                <c:pt idx="568">
                  <c:v>22174</c:v>
                </c:pt>
                <c:pt idx="569">
                  <c:v>22191</c:v>
                </c:pt>
                <c:pt idx="570">
                  <c:v>22209</c:v>
                </c:pt>
                <c:pt idx="571">
                  <c:v>22210</c:v>
                </c:pt>
                <c:pt idx="572">
                  <c:v>22219</c:v>
                </c:pt>
                <c:pt idx="573">
                  <c:v>22244</c:v>
                </c:pt>
                <c:pt idx="574">
                  <c:v>22268</c:v>
                </c:pt>
                <c:pt idx="575">
                  <c:v>22288</c:v>
                </c:pt>
                <c:pt idx="576">
                  <c:v>22309</c:v>
                </c:pt>
                <c:pt idx="577">
                  <c:v>22321</c:v>
                </c:pt>
                <c:pt idx="578">
                  <c:v>22330</c:v>
                </c:pt>
                <c:pt idx="579">
                  <c:v>22331</c:v>
                </c:pt>
                <c:pt idx="580">
                  <c:v>22351</c:v>
                </c:pt>
                <c:pt idx="581">
                  <c:v>22365</c:v>
                </c:pt>
                <c:pt idx="582">
                  <c:v>22371</c:v>
                </c:pt>
                <c:pt idx="583">
                  <c:v>22378</c:v>
                </c:pt>
                <c:pt idx="584">
                  <c:v>223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List1!$D$2:$D$586</c:f>
              <c:numCache>
                <c:formatCode>General</c:formatCode>
                <c:ptCount val="585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20</c:v>
                </c:pt>
                <c:pt idx="11">
                  <c:v>25</c:v>
                </c:pt>
                <c:pt idx="12">
                  <c:v>27</c:v>
                </c:pt>
                <c:pt idx="13">
                  <c:v>40</c:v>
                </c:pt>
                <c:pt idx="14">
                  <c:v>42</c:v>
                </c:pt>
                <c:pt idx="15">
                  <c:v>44</c:v>
                </c:pt>
                <c:pt idx="16">
                  <c:v>46</c:v>
                </c:pt>
                <c:pt idx="17">
                  <c:v>50</c:v>
                </c:pt>
                <c:pt idx="18">
                  <c:v>53</c:v>
                </c:pt>
                <c:pt idx="19">
                  <c:v>61</c:v>
                </c:pt>
                <c:pt idx="20">
                  <c:v>68</c:v>
                </c:pt>
                <c:pt idx="21">
                  <c:v>76</c:v>
                </c:pt>
                <c:pt idx="22">
                  <c:v>78</c:v>
                </c:pt>
                <c:pt idx="23">
                  <c:v>85</c:v>
                </c:pt>
                <c:pt idx="24">
                  <c:v>98</c:v>
                </c:pt>
                <c:pt idx="25">
                  <c:v>110</c:v>
                </c:pt>
                <c:pt idx="26">
                  <c:v>119</c:v>
                </c:pt>
                <c:pt idx="27">
                  <c:v>128</c:v>
                </c:pt>
                <c:pt idx="28">
                  <c:v>160</c:v>
                </c:pt>
                <c:pt idx="29">
                  <c:v>198</c:v>
                </c:pt>
                <c:pt idx="30">
                  <c:v>259</c:v>
                </c:pt>
                <c:pt idx="31">
                  <c:v>421</c:v>
                </c:pt>
                <c:pt idx="32">
                  <c:v>490</c:v>
                </c:pt>
                <c:pt idx="33">
                  <c:v>579</c:v>
                </c:pt>
                <c:pt idx="34">
                  <c:v>857</c:v>
                </c:pt>
                <c:pt idx="35">
                  <c:v>991</c:v>
                </c:pt>
                <c:pt idx="36">
                  <c:v>1081</c:v>
                </c:pt>
                <c:pt idx="37">
                  <c:v>1249</c:v>
                </c:pt>
                <c:pt idx="38">
                  <c:v>1482</c:v>
                </c:pt>
                <c:pt idx="39">
                  <c:v>1563</c:v>
                </c:pt>
                <c:pt idx="40">
                  <c:v>1602</c:v>
                </c:pt>
                <c:pt idx="41">
                  <c:v>1919</c:v>
                </c:pt>
                <c:pt idx="42">
                  <c:v>2308</c:v>
                </c:pt>
                <c:pt idx="43">
                  <c:v>2689</c:v>
                </c:pt>
                <c:pt idx="44">
                  <c:v>3104</c:v>
                </c:pt>
                <c:pt idx="45">
                  <c:v>3527</c:v>
                </c:pt>
                <c:pt idx="46">
                  <c:v>3792</c:v>
                </c:pt>
                <c:pt idx="47">
                  <c:v>3884</c:v>
                </c:pt>
                <c:pt idx="48">
                  <c:v>4339</c:v>
                </c:pt>
                <c:pt idx="49">
                  <c:v>4747</c:v>
                </c:pt>
                <c:pt idx="50">
                  <c:v>5351</c:v>
                </c:pt>
                <c:pt idx="51">
                  <c:v>5832</c:v>
                </c:pt>
                <c:pt idx="52">
                  <c:v>6608</c:v>
                </c:pt>
                <c:pt idx="53">
                  <c:v>7029</c:v>
                </c:pt>
                <c:pt idx="54">
                  <c:v>7322</c:v>
                </c:pt>
                <c:pt idx="55">
                  <c:v>8108</c:v>
                </c:pt>
                <c:pt idx="56">
                  <c:v>9072</c:v>
                </c:pt>
                <c:pt idx="57">
                  <c:v>9477</c:v>
                </c:pt>
                <c:pt idx="58">
                  <c:v>10514</c:v>
                </c:pt>
                <c:pt idx="59">
                  <c:v>11454</c:v>
                </c:pt>
                <c:pt idx="60">
                  <c:v>11980</c:v>
                </c:pt>
                <c:pt idx="61">
                  <c:v>12318</c:v>
                </c:pt>
                <c:pt idx="62">
                  <c:v>12981</c:v>
                </c:pt>
                <c:pt idx="63">
                  <c:v>13580</c:v>
                </c:pt>
                <c:pt idx="64">
                  <c:v>14355</c:v>
                </c:pt>
                <c:pt idx="65">
                  <c:v>15193</c:v>
                </c:pt>
                <c:pt idx="66">
                  <c:v>15945</c:v>
                </c:pt>
                <c:pt idx="67">
                  <c:v>16286</c:v>
                </c:pt>
                <c:pt idx="68">
                  <c:v>16421</c:v>
                </c:pt>
                <c:pt idx="69">
                  <c:v>16841</c:v>
                </c:pt>
                <c:pt idx="70">
                  <c:v>17443</c:v>
                </c:pt>
                <c:pt idx="71">
                  <c:v>18407</c:v>
                </c:pt>
                <c:pt idx="72">
                  <c:v>19162</c:v>
                </c:pt>
                <c:pt idx="73">
                  <c:v>19862</c:v>
                </c:pt>
                <c:pt idx="74">
                  <c:v>20126</c:v>
                </c:pt>
                <c:pt idx="75">
                  <c:v>20332</c:v>
                </c:pt>
                <c:pt idx="76">
                  <c:v>20930</c:v>
                </c:pt>
                <c:pt idx="77">
                  <c:v>21123</c:v>
                </c:pt>
                <c:pt idx="78">
                  <c:v>21568</c:v>
                </c:pt>
                <c:pt idx="79">
                  <c:v>21985</c:v>
                </c:pt>
                <c:pt idx="80">
                  <c:v>22362</c:v>
                </c:pt>
                <c:pt idx="81">
                  <c:v>22499</c:v>
                </c:pt>
                <c:pt idx="82">
                  <c:v>22612</c:v>
                </c:pt>
                <c:pt idx="83">
                  <c:v>23151</c:v>
                </c:pt>
                <c:pt idx="84">
                  <c:v>23465</c:v>
                </c:pt>
                <c:pt idx="85">
                  <c:v>23694</c:v>
                </c:pt>
                <c:pt idx="86">
                  <c:v>23956</c:v>
                </c:pt>
                <c:pt idx="87">
                  <c:v>24180</c:v>
                </c:pt>
                <c:pt idx="88">
                  <c:v>24283</c:v>
                </c:pt>
                <c:pt idx="89">
                  <c:v>24329</c:v>
                </c:pt>
                <c:pt idx="90">
                  <c:v>24659</c:v>
                </c:pt>
                <c:pt idx="91">
                  <c:v>24878</c:v>
                </c:pt>
                <c:pt idx="92">
                  <c:v>25091</c:v>
                </c:pt>
                <c:pt idx="93">
                  <c:v>25291</c:v>
                </c:pt>
                <c:pt idx="94">
                  <c:v>25536</c:v>
                </c:pt>
                <c:pt idx="95">
                  <c:v>25668</c:v>
                </c:pt>
                <c:pt idx="96">
                  <c:v>25720</c:v>
                </c:pt>
                <c:pt idx="97">
                  <c:v>25990</c:v>
                </c:pt>
                <c:pt idx="98">
                  <c:v>26164</c:v>
                </c:pt>
                <c:pt idx="99">
                  <c:v>26373</c:v>
                </c:pt>
                <c:pt idx="100">
                  <c:v>26521</c:v>
                </c:pt>
                <c:pt idx="101">
                  <c:v>26842</c:v>
                </c:pt>
                <c:pt idx="102">
                  <c:v>26930</c:v>
                </c:pt>
                <c:pt idx="103">
                  <c:v>27000</c:v>
                </c:pt>
                <c:pt idx="104">
                  <c:v>27295</c:v>
                </c:pt>
                <c:pt idx="105">
                  <c:v>27502</c:v>
                </c:pt>
                <c:pt idx="106">
                  <c:v>27701</c:v>
                </c:pt>
                <c:pt idx="107">
                  <c:v>27827</c:v>
                </c:pt>
                <c:pt idx="108">
                  <c:v>28141</c:v>
                </c:pt>
                <c:pt idx="109">
                  <c:v>28235</c:v>
                </c:pt>
                <c:pt idx="110">
                  <c:v>28286</c:v>
                </c:pt>
                <c:pt idx="111">
                  <c:v>28638</c:v>
                </c:pt>
                <c:pt idx="112">
                  <c:v>28936</c:v>
                </c:pt>
                <c:pt idx="113">
                  <c:v>29190</c:v>
                </c:pt>
                <c:pt idx="114">
                  <c:v>29242</c:v>
                </c:pt>
                <c:pt idx="115">
                  <c:v>29366</c:v>
                </c:pt>
                <c:pt idx="116">
                  <c:v>29500</c:v>
                </c:pt>
                <c:pt idx="117">
                  <c:v>29647</c:v>
                </c:pt>
                <c:pt idx="118">
                  <c:v>30010</c:v>
                </c:pt>
                <c:pt idx="119">
                  <c:v>30343</c:v>
                </c:pt>
                <c:pt idx="120">
                  <c:v>30607</c:v>
                </c:pt>
                <c:pt idx="121">
                  <c:v>30842</c:v>
                </c:pt>
                <c:pt idx="122">
                  <c:v>30944</c:v>
                </c:pt>
                <c:pt idx="123">
                  <c:v>31073</c:v>
                </c:pt>
                <c:pt idx="124">
                  <c:v>31154</c:v>
                </c:pt>
                <c:pt idx="125">
                  <c:v>31742</c:v>
                </c:pt>
                <c:pt idx="126">
                  <c:v>32049</c:v>
                </c:pt>
                <c:pt idx="127">
                  <c:v>32337</c:v>
                </c:pt>
                <c:pt idx="128">
                  <c:v>32686</c:v>
                </c:pt>
                <c:pt idx="129">
                  <c:v>33011</c:v>
                </c:pt>
                <c:pt idx="130">
                  <c:v>33141</c:v>
                </c:pt>
                <c:pt idx="131">
                  <c:v>33205</c:v>
                </c:pt>
                <c:pt idx="132">
                  <c:v>33705</c:v>
                </c:pt>
                <c:pt idx="133">
                  <c:v>33938</c:v>
                </c:pt>
                <c:pt idx="134">
                  <c:v>34227</c:v>
                </c:pt>
                <c:pt idx="135">
                  <c:v>34388</c:v>
                </c:pt>
                <c:pt idx="136">
                  <c:v>34551</c:v>
                </c:pt>
                <c:pt idx="137">
                  <c:v>34624</c:v>
                </c:pt>
                <c:pt idx="138">
                  <c:v>34704</c:v>
                </c:pt>
                <c:pt idx="139">
                  <c:v>35008</c:v>
                </c:pt>
                <c:pt idx="140">
                  <c:v>35171</c:v>
                </c:pt>
                <c:pt idx="141">
                  <c:v>35392</c:v>
                </c:pt>
                <c:pt idx="142">
                  <c:v>35573</c:v>
                </c:pt>
                <c:pt idx="143">
                  <c:v>35776</c:v>
                </c:pt>
                <c:pt idx="144">
                  <c:v>35861</c:v>
                </c:pt>
                <c:pt idx="145">
                  <c:v>35902</c:v>
                </c:pt>
                <c:pt idx="146">
                  <c:v>36083</c:v>
                </c:pt>
                <c:pt idx="147">
                  <c:v>36205</c:v>
                </c:pt>
                <c:pt idx="148">
                  <c:v>36363</c:v>
                </c:pt>
                <c:pt idx="149">
                  <c:v>36468</c:v>
                </c:pt>
                <c:pt idx="150">
                  <c:v>36559</c:v>
                </c:pt>
                <c:pt idx="151">
                  <c:v>36641</c:v>
                </c:pt>
                <c:pt idx="152">
                  <c:v>36667</c:v>
                </c:pt>
                <c:pt idx="153">
                  <c:v>36859</c:v>
                </c:pt>
                <c:pt idx="154">
                  <c:v>37035</c:v>
                </c:pt>
                <c:pt idx="155">
                  <c:v>37201</c:v>
                </c:pt>
                <c:pt idx="156">
                  <c:v>37339</c:v>
                </c:pt>
                <c:pt idx="157">
                  <c:v>37480</c:v>
                </c:pt>
                <c:pt idx="158">
                  <c:v>37539</c:v>
                </c:pt>
                <c:pt idx="159">
                  <c:v>37576</c:v>
                </c:pt>
                <c:pt idx="160">
                  <c:v>37719</c:v>
                </c:pt>
                <c:pt idx="161">
                  <c:v>37809</c:v>
                </c:pt>
                <c:pt idx="162">
                  <c:v>37911</c:v>
                </c:pt>
                <c:pt idx="163">
                  <c:v>38023</c:v>
                </c:pt>
                <c:pt idx="164">
                  <c:v>38116</c:v>
                </c:pt>
                <c:pt idx="165">
                  <c:v>38141</c:v>
                </c:pt>
                <c:pt idx="166">
                  <c:v>38174</c:v>
                </c:pt>
                <c:pt idx="167">
                  <c:v>38282</c:v>
                </c:pt>
                <c:pt idx="168">
                  <c:v>38338</c:v>
                </c:pt>
                <c:pt idx="169">
                  <c:v>38408</c:v>
                </c:pt>
                <c:pt idx="170">
                  <c:v>38476</c:v>
                </c:pt>
                <c:pt idx="171">
                  <c:v>38549</c:v>
                </c:pt>
                <c:pt idx="172">
                  <c:v>38576</c:v>
                </c:pt>
                <c:pt idx="173">
                  <c:v>38607</c:v>
                </c:pt>
                <c:pt idx="174">
                  <c:v>38783</c:v>
                </c:pt>
                <c:pt idx="175">
                  <c:v>38870</c:v>
                </c:pt>
                <c:pt idx="176">
                  <c:v>38943</c:v>
                </c:pt>
                <c:pt idx="177">
                  <c:v>39025</c:v>
                </c:pt>
                <c:pt idx="178">
                  <c:v>39126</c:v>
                </c:pt>
                <c:pt idx="179">
                  <c:v>39149</c:v>
                </c:pt>
                <c:pt idx="180">
                  <c:v>39162</c:v>
                </c:pt>
                <c:pt idx="181">
                  <c:v>39309</c:v>
                </c:pt>
                <c:pt idx="182">
                  <c:v>39382</c:v>
                </c:pt>
                <c:pt idx="183">
                  <c:v>39486</c:v>
                </c:pt>
                <c:pt idx="184">
                  <c:v>39546</c:v>
                </c:pt>
                <c:pt idx="185">
                  <c:v>39610</c:v>
                </c:pt>
                <c:pt idx="186">
                  <c:v>39631</c:v>
                </c:pt>
                <c:pt idx="187">
                  <c:v>39651</c:v>
                </c:pt>
                <c:pt idx="188">
                  <c:v>39745</c:v>
                </c:pt>
                <c:pt idx="189">
                  <c:v>39905</c:v>
                </c:pt>
                <c:pt idx="190">
                  <c:v>40015</c:v>
                </c:pt>
                <c:pt idx="191">
                  <c:v>40060</c:v>
                </c:pt>
                <c:pt idx="192">
                  <c:v>40115</c:v>
                </c:pt>
                <c:pt idx="193">
                  <c:v>40136</c:v>
                </c:pt>
                <c:pt idx="194">
                  <c:v>40150</c:v>
                </c:pt>
                <c:pt idx="195">
                  <c:v>40227</c:v>
                </c:pt>
                <c:pt idx="196">
                  <c:v>40279</c:v>
                </c:pt>
                <c:pt idx="197">
                  <c:v>40318</c:v>
                </c:pt>
                <c:pt idx="198">
                  <c:v>40371</c:v>
                </c:pt>
                <c:pt idx="199">
                  <c:v>40415</c:v>
                </c:pt>
                <c:pt idx="200">
                  <c:v>40427</c:v>
                </c:pt>
                <c:pt idx="201">
                  <c:v>40437</c:v>
                </c:pt>
                <c:pt idx="202">
                  <c:v>40489</c:v>
                </c:pt>
                <c:pt idx="203">
                  <c:v>40539</c:v>
                </c:pt>
                <c:pt idx="204">
                  <c:v>40574</c:v>
                </c:pt>
                <c:pt idx="205">
                  <c:v>40618</c:v>
                </c:pt>
                <c:pt idx="206">
                  <c:v>40644</c:v>
                </c:pt>
                <c:pt idx="207">
                  <c:v>40650</c:v>
                </c:pt>
                <c:pt idx="208">
                  <c:v>40657</c:v>
                </c:pt>
                <c:pt idx="209">
                  <c:v>40704</c:v>
                </c:pt>
                <c:pt idx="210">
                  <c:v>40737</c:v>
                </c:pt>
                <c:pt idx="211">
                  <c:v>40763</c:v>
                </c:pt>
                <c:pt idx="212">
                  <c:v>40787</c:v>
                </c:pt>
                <c:pt idx="213">
                  <c:v>40796</c:v>
                </c:pt>
                <c:pt idx="214">
                  <c:v>40804</c:v>
                </c:pt>
                <c:pt idx="215">
                  <c:v>40808</c:v>
                </c:pt>
                <c:pt idx="216">
                  <c:v>40817</c:v>
                </c:pt>
                <c:pt idx="217">
                  <c:v>40845</c:v>
                </c:pt>
                <c:pt idx="218">
                  <c:v>40881</c:v>
                </c:pt>
                <c:pt idx="219">
                  <c:v>40901</c:v>
                </c:pt>
                <c:pt idx="220">
                  <c:v>40912</c:v>
                </c:pt>
                <c:pt idx="221">
                  <c:v>40920</c:v>
                </c:pt>
                <c:pt idx="222">
                  <c:v>40921</c:v>
                </c:pt>
                <c:pt idx="223">
                  <c:v>40932</c:v>
                </c:pt>
                <c:pt idx="224">
                  <c:v>40945</c:v>
                </c:pt>
                <c:pt idx="225">
                  <c:v>40954</c:v>
                </c:pt>
                <c:pt idx="226">
                  <c:v>40965</c:v>
                </c:pt>
                <c:pt idx="227">
                  <c:v>40974</c:v>
                </c:pt>
                <c:pt idx="228">
                  <c:v>40976</c:v>
                </c:pt>
                <c:pt idx="229">
                  <c:v>40979</c:v>
                </c:pt>
                <c:pt idx="230">
                  <c:v>40999</c:v>
                </c:pt>
                <c:pt idx="231">
                  <c:v>41011</c:v>
                </c:pt>
                <c:pt idx="232">
                  <c:v>41022</c:v>
                </c:pt>
                <c:pt idx="233">
                  <c:v>41044</c:v>
                </c:pt>
                <c:pt idx="234">
                  <c:v>41055</c:v>
                </c:pt>
                <c:pt idx="235">
                  <c:v>41057</c:v>
                </c:pt>
                <c:pt idx="236">
                  <c:v>41058</c:v>
                </c:pt>
                <c:pt idx="237">
                  <c:v>41069</c:v>
                </c:pt>
                <c:pt idx="238">
                  <c:v>41082</c:v>
                </c:pt>
                <c:pt idx="239">
                  <c:v>41087</c:v>
                </c:pt>
                <c:pt idx="240">
                  <c:v>41092</c:v>
                </c:pt>
                <c:pt idx="241">
                  <c:v>41099</c:v>
                </c:pt>
                <c:pt idx="242">
                  <c:v>41100</c:v>
                </c:pt>
                <c:pt idx="243">
                  <c:v>41102</c:v>
                </c:pt>
                <c:pt idx="244">
                  <c:v>41108</c:v>
                </c:pt>
                <c:pt idx="245">
                  <c:v>41111</c:v>
                </c:pt>
                <c:pt idx="246">
                  <c:v>41115</c:v>
                </c:pt>
                <c:pt idx="247">
                  <c:v>41121</c:v>
                </c:pt>
                <c:pt idx="248">
                  <c:v>41125</c:v>
                </c:pt>
                <c:pt idx="249">
                  <c:v>41127</c:v>
                </c:pt>
                <c:pt idx="250">
                  <c:v>41131</c:v>
                </c:pt>
                <c:pt idx="251">
                  <c:v>41139</c:v>
                </c:pt>
                <c:pt idx="252">
                  <c:v>41145</c:v>
                </c:pt>
                <c:pt idx="253">
                  <c:v>41145</c:v>
                </c:pt>
                <c:pt idx="254">
                  <c:v>41149</c:v>
                </c:pt>
                <c:pt idx="255">
                  <c:v>41155</c:v>
                </c:pt>
                <c:pt idx="256">
                  <c:v>41156</c:v>
                </c:pt>
                <c:pt idx="257">
                  <c:v>41156</c:v>
                </c:pt>
                <c:pt idx="258">
                  <c:v>41165</c:v>
                </c:pt>
                <c:pt idx="259">
                  <c:v>41170</c:v>
                </c:pt>
                <c:pt idx="260">
                  <c:v>41174</c:v>
                </c:pt>
                <c:pt idx="261">
                  <c:v>41178</c:v>
                </c:pt>
                <c:pt idx="262">
                  <c:v>41179</c:v>
                </c:pt>
                <c:pt idx="263">
                  <c:v>41179</c:v>
                </c:pt>
                <c:pt idx="264">
                  <c:v>41179</c:v>
                </c:pt>
                <c:pt idx="265">
                  <c:v>41183</c:v>
                </c:pt>
                <c:pt idx="266">
                  <c:v>41184</c:v>
                </c:pt>
                <c:pt idx="267">
                  <c:v>41185</c:v>
                </c:pt>
                <c:pt idx="268">
                  <c:v>41187</c:v>
                </c:pt>
                <c:pt idx="269">
                  <c:v>41187</c:v>
                </c:pt>
                <c:pt idx="270">
                  <c:v>41187</c:v>
                </c:pt>
                <c:pt idx="271">
                  <c:v>41187</c:v>
                </c:pt>
                <c:pt idx="272">
                  <c:v>41189</c:v>
                </c:pt>
                <c:pt idx="273">
                  <c:v>41189</c:v>
                </c:pt>
                <c:pt idx="274">
                  <c:v>41192</c:v>
                </c:pt>
                <c:pt idx="275">
                  <c:v>41195</c:v>
                </c:pt>
                <c:pt idx="276">
                  <c:v>41195</c:v>
                </c:pt>
                <c:pt idx="277">
                  <c:v>41195</c:v>
                </c:pt>
                <c:pt idx="278">
                  <c:v>41195</c:v>
                </c:pt>
                <c:pt idx="279">
                  <c:v>41197</c:v>
                </c:pt>
                <c:pt idx="280">
                  <c:v>41197</c:v>
                </c:pt>
                <c:pt idx="281">
                  <c:v>41197</c:v>
                </c:pt>
                <c:pt idx="282">
                  <c:v>41197</c:v>
                </c:pt>
                <c:pt idx="283">
                  <c:v>41198</c:v>
                </c:pt>
                <c:pt idx="284">
                  <c:v>41199</c:v>
                </c:pt>
                <c:pt idx="285">
                  <c:v>41199</c:v>
                </c:pt>
                <c:pt idx="286">
                  <c:v>41199</c:v>
                </c:pt>
                <c:pt idx="287">
                  <c:v>41199</c:v>
                </c:pt>
                <c:pt idx="288">
                  <c:v>41199</c:v>
                </c:pt>
                <c:pt idx="289">
                  <c:v>41200</c:v>
                </c:pt>
                <c:pt idx="290">
                  <c:v>41200</c:v>
                </c:pt>
                <c:pt idx="291">
                  <c:v>41200</c:v>
                </c:pt>
                <c:pt idx="292">
                  <c:v>41200</c:v>
                </c:pt>
                <c:pt idx="293">
                  <c:v>41200</c:v>
                </c:pt>
                <c:pt idx="294">
                  <c:v>41200</c:v>
                </c:pt>
                <c:pt idx="295">
                  <c:v>41201</c:v>
                </c:pt>
                <c:pt idx="296">
                  <c:v>41203</c:v>
                </c:pt>
                <c:pt idx="297">
                  <c:v>41204</c:v>
                </c:pt>
                <c:pt idx="298">
                  <c:v>41204</c:v>
                </c:pt>
                <c:pt idx="299">
                  <c:v>41204</c:v>
                </c:pt>
                <c:pt idx="300">
                  <c:v>41205</c:v>
                </c:pt>
                <c:pt idx="301">
                  <c:v>41205</c:v>
                </c:pt>
                <c:pt idx="302">
                  <c:v>41206</c:v>
                </c:pt>
                <c:pt idx="303">
                  <c:v>41207</c:v>
                </c:pt>
                <c:pt idx="304">
                  <c:v>41207</c:v>
                </c:pt>
                <c:pt idx="305">
                  <c:v>41207</c:v>
                </c:pt>
                <c:pt idx="306">
                  <c:v>41208</c:v>
                </c:pt>
                <c:pt idx="307">
                  <c:v>41208</c:v>
                </c:pt>
                <c:pt idx="308">
                  <c:v>41209</c:v>
                </c:pt>
                <c:pt idx="309">
                  <c:v>41210</c:v>
                </c:pt>
                <c:pt idx="310">
                  <c:v>41212</c:v>
                </c:pt>
                <c:pt idx="311">
                  <c:v>41212</c:v>
                </c:pt>
                <c:pt idx="312">
                  <c:v>41212</c:v>
                </c:pt>
                <c:pt idx="313">
                  <c:v>41213</c:v>
                </c:pt>
                <c:pt idx="314">
                  <c:v>41213</c:v>
                </c:pt>
                <c:pt idx="315">
                  <c:v>41213</c:v>
                </c:pt>
                <c:pt idx="316">
                  <c:v>41213</c:v>
                </c:pt>
                <c:pt idx="317">
                  <c:v>41213</c:v>
                </c:pt>
                <c:pt idx="318">
                  <c:v>41213</c:v>
                </c:pt>
                <c:pt idx="319">
                  <c:v>41213</c:v>
                </c:pt>
                <c:pt idx="320">
                  <c:v>41213</c:v>
                </c:pt>
                <c:pt idx="321">
                  <c:v>41213</c:v>
                </c:pt>
                <c:pt idx="322">
                  <c:v>41213</c:v>
                </c:pt>
                <c:pt idx="323">
                  <c:v>41214</c:v>
                </c:pt>
                <c:pt idx="324">
                  <c:v>41214</c:v>
                </c:pt>
                <c:pt idx="325">
                  <c:v>41214</c:v>
                </c:pt>
                <c:pt idx="326">
                  <c:v>41215</c:v>
                </c:pt>
                <c:pt idx="327">
                  <c:v>41215</c:v>
                </c:pt>
                <c:pt idx="328">
                  <c:v>41215</c:v>
                </c:pt>
                <c:pt idx="329">
                  <c:v>41216</c:v>
                </c:pt>
                <c:pt idx="330">
                  <c:v>41218</c:v>
                </c:pt>
                <c:pt idx="331">
                  <c:v>41218</c:v>
                </c:pt>
                <c:pt idx="332">
                  <c:v>41219</c:v>
                </c:pt>
                <c:pt idx="333">
                  <c:v>41219</c:v>
                </c:pt>
                <c:pt idx="334">
                  <c:v>41219</c:v>
                </c:pt>
                <c:pt idx="335">
                  <c:v>41219</c:v>
                </c:pt>
                <c:pt idx="336">
                  <c:v>41219</c:v>
                </c:pt>
                <c:pt idx="337">
                  <c:v>41219</c:v>
                </c:pt>
                <c:pt idx="338">
                  <c:v>41219</c:v>
                </c:pt>
                <c:pt idx="339">
                  <c:v>41219</c:v>
                </c:pt>
                <c:pt idx="340">
                  <c:v>41219</c:v>
                </c:pt>
                <c:pt idx="341">
                  <c:v>41220</c:v>
                </c:pt>
                <c:pt idx="342">
                  <c:v>41220</c:v>
                </c:pt>
                <c:pt idx="343">
                  <c:v>41220</c:v>
                </c:pt>
                <c:pt idx="344">
                  <c:v>41221</c:v>
                </c:pt>
                <c:pt idx="345">
                  <c:v>41221</c:v>
                </c:pt>
                <c:pt idx="346">
                  <c:v>41221</c:v>
                </c:pt>
                <c:pt idx="347">
                  <c:v>41221</c:v>
                </c:pt>
                <c:pt idx="348">
                  <c:v>41222</c:v>
                </c:pt>
                <c:pt idx="349">
                  <c:v>41223</c:v>
                </c:pt>
                <c:pt idx="350">
                  <c:v>41224</c:v>
                </c:pt>
                <c:pt idx="351">
                  <c:v>41224</c:v>
                </c:pt>
                <c:pt idx="352">
                  <c:v>41225</c:v>
                </c:pt>
                <c:pt idx="353">
                  <c:v>41225</c:v>
                </c:pt>
                <c:pt idx="354">
                  <c:v>41225</c:v>
                </c:pt>
                <c:pt idx="355">
                  <c:v>41225</c:v>
                </c:pt>
                <c:pt idx="356">
                  <c:v>41228</c:v>
                </c:pt>
                <c:pt idx="357">
                  <c:v>41228</c:v>
                </c:pt>
                <c:pt idx="358">
                  <c:v>41228</c:v>
                </c:pt>
                <c:pt idx="359">
                  <c:v>41229</c:v>
                </c:pt>
                <c:pt idx="360">
                  <c:v>41230</c:v>
                </c:pt>
                <c:pt idx="361">
                  <c:v>41231</c:v>
                </c:pt>
                <c:pt idx="362">
                  <c:v>41232</c:v>
                </c:pt>
                <c:pt idx="363">
                  <c:v>41232</c:v>
                </c:pt>
                <c:pt idx="364">
                  <c:v>41232</c:v>
                </c:pt>
                <c:pt idx="365">
                  <c:v>41239</c:v>
                </c:pt>
                <c:pt idx="366">
                  <c:v>41244</c:v>
                </c:pt>
                <c:pt idx="367">
                  <c:v>41247</c:v>
                </c:pt>
                <c:pt idx="368">
                  <c:v>41248</c:v>
                </c:pt>
                <c:pt idx="369">
                  <c:v>41248</c:v>
                </c:pt>
                <c:pt idx="370">
                  <c:v>41253</c:v>
                </c:pt>
                <c:pt idx="371">
                  <c:v>41255</c:v>
                </c:pt>
                <c:pt idx="372">
                  <c:v>41256</c:v>
                </c:pt>
                <c:pt idx="373">
                  <c:v>41258</c:v>
                </c:pt>
                <c:pt idx="374">
                  <c:v>41260</c:v>
                </c:pt>
                <c:pt idx="375">
                  <c:v>41260</c:v>
                </c:pt>
                <c:pt idx="376">
                  <c:v>41261</c:v>
                </c:pt>
                <c:pt idx="377">
                  <c:v>41262</c:v>
                </c:pt>
                <c:pt idx="378">
                  <c:v>41263</c:v>
                </c:pt>
                <c:pt idx="379">
                  <c:v>41263</c:v>
                </c:pt>
                <c:pt idx="380">
                  <c:v>41263</c:v>
                </c:pt>
                <c:pt idx="381">
                  <c:v>41263</c:v>
                </c:pt>
                <c:pt idx="382">
                  <c:v>41264</c:v>
                </c:pt>
                <c:pt idx="383">
                  <c:v>41264</c:v>
                </c:pt>
                <c:pt idx="384">
                  <c:v>41269</c:v>
                </c:pt>
                <c:pt idx="385">
                  <c:v>41277</c:v>
                </c:pt>
                <c:pt idx="386">
                  <c:v>41280</c:v>
                </c:pt>
                <c:pt idx="387">
                  <c:v>41280</c:v>
                </c:pt>
                <c:pt idx="388">
                  <c:v>41280</c:v>
                </c:pt>
                <c:pt idx="389">
                  <c:v>41281</c:v>
                </c:pt>
                <c:pt idx="390">
                  <c:v>41282</c:v>
                </c:pt>
                <c:pt idx="391">
                  <c:v>41288</c:v>
                </c:pt>
                <c:pt idx="392">
                  <c:v>41289</c:v>
                </c:pt>
                <c:pt idx="393">
                  <c:v>41296</c:v>
                </c:pt>
                <c:pt idx="394">
                  <c:v>41298</c:v>
                </c:pt>
                <c:pt idx="395">
                  <c:v>41300</c:v>
                </c:pt>
                <c:pt idx="396">
                  <c:v>41301</c:v>
                </c:pt>
                <c:pt idx="397">
                  <c:v>41302</c:v>
                </c:pt>
                <c:pt idx="398">
                  <c:v>41308</c:v>
                </c:pt>
                <c:pt idx="399">
                  <c:v>41315</c:v>
                </c:pt>
                <c:pt idx="400">
                  <c:v>41325</c:v>
                </c:pt>
                <c:pt idx="401">
                  <c:v>41328</c:v>
                </c:pt>
                <c:pt idx="402">
                  <c:v>41355</c:v>
                </c:pt>
                <c:pt idx="403">
                  <c:v>41357</c:v>
                </c:pt>
                <c:pt idx="404">
                  <c:v>41357</c:v>
                </c:pt>
                <c:pt idx="405">
                  <c:v>41360</c:v>
                </c:pt>
                <c:pt idx="406">
                  <c:v>41364</c:v>
                </c:pt>
                <c:pt idx="407">
                  <c:v>41385</c:v>
                </c:pt>
                <c:pt idx="408">
                  <c:v>41391</c:v>
                </c:pt>
                <c:pt idx="409">
                  <c:v>41400</c:v>
                </c:pt>
                <c:pt idx="410">
                  <c:v>41402</c:v>
                </c:pt>
                <c:pt idx="411">
                  <c:v>41403</c:v>
                </c:pt>
                <c:pt idx="412">
                  <c:v>41421</c:v>
                </c:pt>
                <c:pt idx="413">
                  <c:v>41434</c:v>
                </c:pt>
                <c:pt idx="414">
                  <c:v>41449</c:v>
                </c:pt>
                <c:pt idx="415">
                  <c:v>41458</c:v>
                </c:pt>
                <c:pt idx="416">
                  <c:v>41475</c:v>
                </c:pt>
                <c:pt idx="417">
                  <c:v>41476</c:v>
                </c:pt>
                <c:pt idx="418">
                  <c:v>41481</c:v>
                </c:pt>
                <c:pt idx="419">
                  <c:v>41515</c:v>
                </c:pt>
                <c:pt idx="420">
                  <c:v>41530</c:v>
                </c:pt>
                <c:pt idx="421">
                  <c:v>41559</c:v>
                </c:pt>
                <c:pt idx="422">
                  <c:v>41562</c:v>
                </c:pt>
                <c:pt idx="423">
                  <c:v>41589</c:v>
                </c:pt>
                <c:pt idx="424">
                  <c:v>41601</c:v>
                </c:pt>
                <c:pt idx="425">
                  <c:v>41616</c:v>
                </c:pt>
                <c:pt idx="426">
                  <c:v>41693</c:v>
                </c:pt>
                <c:pt idx="427">
                  <c:v>41734</c:v>
                </c:pt>
                <c:pt idx="428">
                  <c:v>41771</c:v>
                </c:pt>
                <c:pt idx="429">
                  <c:v>41849</c:v>
                </c:pt>
                <c:pt idx="430">
                  <c:v>41899</c:v>
                </c:pt>
                <c:pt idx="431">
                  <c:v>41918</c:v>
                </c:pt>
                <c:pt idx="432">
                  <c:v>41928</c:v>
                </c:pt>
                <c:pt idx="433">
                  <c:v>42013</c:v>
                </c:pt>
                <c:pt idx="434">
                  <c:v>42073</c:v>
                </c:pt>
                <c:pt idx="435">
                  <c:v>42120</c:v>
                </c:pt>
                <c:pt idx="436">
                  <c:v>42177</c:v>
                </c:pt>
                <c:pt idx="437">
                  <c:v>42229</c:v>
                </c:pt>
                <c:pt idx="438">
                  <c:v>42262</c:v>
                </c:pt>
                <c:pt idx="439">
                  <c:v>42291</c:v>
                </c:pt>
                <c:pt idx="440">
                  <c:v>42393</c:v>
                </c:pt>
                <c:pt idx="441">
                  <c:v>42460</c:v>
                </c:pt>
                <c:pt idx="442">
                  <c:v>42500</c:v>
                </c:pt>
                <c:pt idx="443">
                  <c:v>42599</c:v>
                </c:pt>
                <c:pt idx="444">
                  <c:v>42737</c:v>
                </c:pt>
                <c:pt idx="445">
                  <c:v>42776</c:v>
                </c:pt>
                <c:pt idx="446">
                  <c:v>42792</c:v>
                </c:pt>
                <c:pt idx="447">
                  <c:v>42917</c:v>
                </c:pt>
                <c:pt idx="448">
                  <c:v>42985</c:v>
                </c:pt>
                <c:pt idx="449">
                  <c:v>43076</c:v>
                </c:pt>
                <c:pt idx="450">
                  <c:v>43154</c:v>
                </c:pt>
                <c:pt idx="451">
                  <c:v>43258</c:v>
                </c:pt>
                <c:pt idx="452">
                  <c:v>43285</c:v>
                </c:pt>
                <c:pt idx="453">
                  <c:v>43299</c:v>
                </c:pt>
                <c:pt idx="454">
                  <c:v>43389</c:v>
                </c:pt>
                <c:pt idx="455">
                  <c:v>43454</c:v>
                </c:pt>
                <c:pt idx="456">
                  <c:v>43528</c:v>
                </c:pt>
                <c:pt idx="457">
                  <c:v>43592</c:v>
                </c:pt>
                <c:pt idx="458">
                  <c:v>43636</c:v>
                </c:pt>
                <c:pt idx="459">
                  <c:v>43695</c:v>
                </c:pt>
                <c:pt idx="460">
                  <c:v>43712</c:v>
                </c:pt>
                <c:pt idx="461">
                  <c:v>43794</c:v>
                </c:pt>
                <c:pt idx="462">
                  <c:v>43853</c:v>
                </c:pt>
                <c:pt idx="463">
                  <c:v>43906</c:v>
                </c:pt>
                <c:pt idx="464">
                  <c:v>43964</c:v>
                </c:pt>
                <c:pt idx="465">
                  <c:v>44014</c:v>
                </c:pt>
                <c:pt idx="466">
                  <c:v>44033</c:v>
                </c:pt>
                <c:pt idx="467">
                  <c:v>44043</c:v>
                </c:pt>
                <c:pt idx="468">
                  <c:v>44096</c:v>
                </c:pt>
                <c:pt idx="469">
                  <c:v>44160</c:v>
                </c:pt>
                <c:pt idx="470">
                  <c:v>44204</c:v>
                </c:pt>
                <c:pt idx="471">
                  <c:v>44230</c:v>
                </c:pt>
                <c:pt idx="472">
                  <c:v>44258</c:v>
                </c:pt>
                <c:pt idx="473">
                  <c:v>44268</c:v>
                </c:pt>
                <c:pt idx="474">
                  <c:v>44281</c:v>
                </c:pt>
                <c:pt idx="475">
                  <c:v>44325</c:v>
                </c:pt>
                <c:pt idx="476">
                  <c:v>44346</c:v>
                </c:pt>
                <c:pt idx="477">
                  <c:v>44359</c:v>
                </c:pt>
                <c:pt idx="478">
                  <c:v>44368</c:v>
                </c:pt>
                <c:pt idx="479">
                  <c:v>44376</c:v>
                </c:pt>
                <c:pt idx="480">
                  <c:v>44384</c:v>
                </c:pt>
                <c:pt idx="481">
                  <c:v>44389</c:v>
                </c:pt>
                <c:pt idx="482">
                  <c:v>44410</c:v>
                </c:pt>
                <c:pt idx="483">
                  <c:v>44434</c:v>
                </c:pt>
                <c:pt idx="484">
                  <c:v>44451</c:v>
                </c:pt>
                <c:pt idx="485">
                  <c:v>44463</c:v>
                </c:pt>
                <c:pt idx="486">
                  <c:v>44479</c:v>
                </c:pt>
                <c:pt idx="487">
                  <c:v>44483</c:v>
                </c:pt>
                <c:pt idx="488">
                  <c:v>44488</c:v>
                </c:pt>
                <c:pt idx="489">
                  <c:v>44513</c:v>
                </c:pt>
                <c:pt idx="490">
                  <c:v>44533</c:v>
                </c:pt>
                <c:pt idx="491">
                  <c:v>44545</c:v>
                </c:pt>
                <c:pt idx="492">
                  <c:v>44561</c:v>
                </c:pt>
                <c:pt idx="493">
                  <c:v>44578</c:v>
                </c:pt>
                <c:pt idx="494">
                  <c:v>44582</c:v>
                </c:pt>
                <c:pt idx="495">
                  <c:v>44587</c:v>
                </c:pt>
                <c:pt idx="496">
                  <c:v>44608</c:v>
                </c:pt>
                <c:pt idx="497">
                  <c:v>44627</c:v>
                </c:pt>
                <c:pt idx="498">
                  <c:v>44640</c:v>
                </c:pt>
                <c:pt idx="499">
                  <c:v>44656</c:v>
                </c:pt>
                <c:pt idx="500">
                  <c:v>44677</c:v>
                </c:pt>
                <c:pt idx="501">
                  <c:v>44684</c:v>
                </c:pt>
                <c:pt idx="502">
                  <c:v>44699</c:v>
                </c:pt>
                <c:pt idx="503">
                  <c:v>44767</c:v>
                </c:pt>
                <c:pt idx="504">
                  <c:v>44816</c:v>
                </c:pt>
                <c:pt idx="505">
                  <c:v>44872</c:v>
                </c:pt>
                <c:pt idx="506">
                  <c:v>44942</c:v>
                </c:pt>
                <c:pt idx="507">
                  <c:v>45027</c:v>
                </c:pt>
                <c:pt idx="508">
                  <c:v>45079</c:v>
                </c:pt>
                <c:pt idx="509">
                  <c:v>45101</c:v>
                </c:pt>
                <c:pt idx="510">
                  <c:v>45245</c:v>
                </c:pt>
                <c:pt idx="511">
                  <c:v>45388</c:v>
                </c:pt>
                <c:pt idx="512">
                  <c:v>45528</c:v>
                </c:pt>
                <c:pt idx="513">
                  <c:v>45613</c:v>
                </c:pt>
                <c:pt idx="514">
                  <c:v>45732</c:v>
                </c:pt>
                <c:pt idx="515">
                  <c:v>45766</c:v>
                </c:pt>
                <c:pt idx="516">
                  <c:v>45804</c:v>
                </c:pt>
                <c:pt idx="517">
                  <c:v>45964</c:v>
                </c:pt>
                <c:pt idx="518">
                  <c:v>46135</c:v>
                </c:pt>
                <c:pt idx="519">
                  <c:v>46251</c:v>
                </c:pt>
                <c:pt idx="520">
                  <c:v>46343</c:v>
                </c:pt>
                <c:pt idx="521">
                  <c:v>46484</c:v>
                </c:pt>
                <c:pt idx="522">
                  <c:v>46536</c:v>
                </c:pt>
                <c:pt idx="523">
                  <c:v>46577</c:v>
                </c:pt>
                <c:pt idx="524">
                  <c:v>46799</c:v>
                </c:pt>
                <c:pt idx="525">
                  <c:v>46941</c:v>
                </c:pt>
                <c:pt idx="526">
                  <c:v>47036</c:v>
                </c:pt>
                <c:pt idx="527">
                  <c:v>47147</c:v>
                </c:pt>
                <c:pt idx="528">
                  <c:v>47263</c:v>
                </c:pt>
                <c:pt idx="529">
                  <c:v>47305</c:v>
                </c:pt>
                <c:pt idx="530">
                  <c:v>47348</c:v>
                </c:pt>
                <c:pt idx="531">
                  <c:v>47500</c:v>
                </c:pt>
                <c:pt idx="532">
                  <c:v>47629</c:v>
                </c:pt>
                <c:pt idx="533">
                  <c:v>47748</c:v>
                </c:pt>
                <c:pt idx="534">
                  <c:v>47869</c:v>
                </c:pt>
                <c:pt idx="535">
                  <c:v>47937</c:v>
                </c:pt>
                <c:pt idx="536">
                  <c:v>47969</c:v>
                </c:pt>
                <c:pt idx="537">
                  <c:v>47994</c:v>
                </c:pt>
                <c:pt idx="538">
                  <c:v>48100</c:v>
                </c:pt>
                <c:pt idx="539">
                  <c:v>48201</c:v>
                </c:pt>
                <c:pt idx="540">
                  <c:v>48288</c:v>
                </c:pt>
                <c:pt idx="541">
                  <c:v>48344</c:v>
                </c:pt>
                <c:pt idx="542">
                  <c:v>48410</c:v>
                </c:pt>
                <c:pt idx="543">
                  <c:v>48432</c:v>
                </c:pt>
                <c:pt idx="544">
                  <c:v>48449</c:v>
                </c:pt>
                <c:pt idx="545">
                  <c:v>48536</c:v>
                </c:pt>
                <c:pt idx="546">
                  <c:v>48592</c:v>
                </c:pt>
                <c:pt idx="547">
                  <c:v>48651</c:v>
                </c:pt>
                <c:pt idx="548">
                  <c:v>48689</c:v>
                </c:pt>
                <c:pt idx="549">
                  <c:v>48725</c:v>
                </c:pt>
                <c:pt idx="550">
                  <c:v>48747</c:v>
                </c:pt>
                <c:pt idx="551">
                  <c:v>48759</c:v>
                </c:pt>
                <c:pt idx="552">
                  <c:v>48835</c:v>
                </c:pt>
                <c:pt idx="553">
                  <c:v>48921</c:v>
                </c:pt>
                <c:pt idx="554">
                  <c:v>48970</c:v>
                </c:pt>
                <c:pt idx="555">
                  <c:v>49013</c:v>
                </c:pt>
                <c:pt idx="556">
                  <c:v>49062</c:v>
                </c:pt>
                <c:pt idx="557">
                  <c:v>49070</c:v>
                </c:pt>
                <c:pt idx="558">
                  <c:v>49082</c:v>
                </c:pt>
                <c:pt idx="559">
                  <c:v>49145</c:v>
                </c:pt>
                <c:pt idx="560">
                  <c:v>49189</c:v>
                </c:pt>
                <c:pt idx="561">
                  <c:v>49236</c:v>
                </c:pt>
                <c:pt idx="562">
                  <c:v>49267</c:v>
                </c:pt>
                <c:pt idx="563">
                  <c:v>49311</c:v>
                </c:pt>
                <c:pt idx="564">
                  <c:v>49323</c:v>
                </c:pt>
                <c:pt idx="565">
                  <c:v>49336</c:v>
                </c:pt>
                <c:pt idx="566">
                  <c:v>49406</c:v>
                </c:pt>
                <c:pt idx="567">
                  <c:v>49461</c:v>
                </c:pt>
                <c:pt idx="568">
                  <c:v>49512</c:v>
                </c:pt>
                <c:pt idx="569">
                  <c:v>49554</c:v>
                </c:pt>
                <c:pt idx="570">
                  <c:v>49596</c:v>
                </c:pt>
                <c:pt idx="571">
                  <c:v>49604</c:v>
                </c:pt>
                <c:pt idx="572">
                  <c:v>49618</c:v>
                </c:pt>
                <c:pt idx="573">
                  <c:v>49662</c:v>
                </c:pt>
                <c:pt idx="574">
                  <c:v>49695</c:v>
                </c:pt>
                <c:pt idx="575">
                  <c:v>49736</c:v>
                </c:pt>
                <c:pt idx="576">
                  <c:v>49763</c:v>
                </c:pt>
                <c:pt idx="577">
                  <c:v>49799</c:v>
                </c:pt>
                <c:pt idx="578">
                  <c:v>49819</c:v>
                </c:pt>
                <c:pt idx="579">
                  <c:v>49822</c:v>
                </c:pt>
                <c:pt idx="580">
                  <c:v>49864</c:v>
                </c:pt>
                <c:pt idx="581">
                  <c:v>49895</c:v>
                </c:pt>
                <c:pt idx="582">
                  <c:v>49910</c:v>
                </c:pt>
                <c:pt idx="583">
                  <c:v>49918</c:v>
                </c:pt>
                <c:pt idx="584">
                  <c:v>499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List1!$B$2:$B$586</c:f>
              <c:numCache>
                <c:formatCode>General</c:formatCode>
                <c:ptCount val="585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9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9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3</c:v>
                </c:pt>
                <c:pt idx="32">
                  <c:v>157</c:v>
                </c:pt>
                <c:pt idx="33">
                  <c:v>212</c:v>
                </c:pt>
                <c:pt idx="34">
                  <c:v>366</c:v>
                </c:pt>
                <c:pt idx="35">
                  <c:v>438</c:v>
                </c:pt>
                <c:pt idx="36">
                  <c:v>475</c:v>
                </c:pt>
                <c:pt idx="37">
                  <c:v>544</c:v>
                </c:pt>
                <c:pt idx="38">
                  <c:v>676</c:v>
                </c:pt>
                <c:pt idx="39">
                  <c:v>696</c:v>
                </c:pt>
                <c:pt idx="40">
                  <c:v>665</c:v>
                </c:pt>
                <c:pt idx="41">
                  <c:v>777</c:v>
                </c:pt>
                <c:pt idx="42">
                  <c:v>950</c:v>
                </c:pt>
                <c:pt idx="43">
                  <c:v>1081</c:v>
                </c:pt>
                <c:pt idx="44">
                  <c:v>1257</c:v>
                </c:pt>
                <c:pt idx="45">
                  <c:v>1385</c:v>
                </c:pt>
                <c:pt idx="46">
                  <c:v>1462</c:v>
                </c:pt>
                <c:pt idx="47">
                  <c:v>1415</c:v>
                </c:pt>
                <c:pt idx="48">
                  <c:v>1590</c:v>
                </c:pt>
                <c:pt idx="49">
                  <c:v>1705</c:v>
                </c:pt>
                <c:pt idx="50">
                  <c:v>1984</c:v>
                </c:pt>
                <c:pt idx="51">
                  <c:v>2153</c:v>
                </c:pt>
                <c:pt idx="52">
                  <c:v>2445</c:v>
                </c:pt>
                <c:pt idx="53">
                  <c:v>2528</c:v>
                </c:pt>
                <c:pt idx="54">
                  <c:v>2575</c:v>
                </c:pt>
                <c:pt idx="55">
                  <c:v>2758</c:v>
                </c:pt>
                <c:pt idx="56">
                  <c:v>3105</c:v>
                </c:pt>
                <c:pt idx="57">
                  <c:v>3133</c:v>
                </c:pt>
                <c:pt idx="58">
                  <c:v>3582</c:v>
                </c:pt>
                <c:pt idx="59">
                  <c:v>3876</c:v>
                </c:pt>
                <c:pt idx="60">
                  <c:v>3966</c:v>
                </c:pt>
                <c:pt idx="61">
                  <c:v>3863</c:v>
                </c:pt>
                <c:pt idx="62">
                  <c:v>3929</c:v>
                </c:pt>
                <c:pt idx="63">
                  <c:v>3871</c:v>
                </c:pt>
                <c:pt idx="64">
                  <c:v>4085</c:v>
                </c:pt>
                <c:pt idx="65">
                  <c:v>4422</c:v>
                </c:pt>
                <c:pt idx="66">
                  <c:v>4289</c:v>
                </c:pt>
                <c:pt idx="67">
                  <c:v>3938</c:v>
                </c:pt>
                <c:pt idx="68">
                  <c:v>3860</c:v>
                </c:pt>
                <c:pt idx="69">
                  <c:v>3617</c:v>
                </c:pt>
                <c:pt idx="70">
                  <c:v>3496</c:v>
                </c:pt>
                <c:pt idx="71">
                  <c:v>3921</c:v>
                </c:pt>
                <c:pt idx="72">
                  <c:v>4307</c:v>
                </c:pt>
                <c:pt idx="73">
                  <c:v>4355</c:v>
                </c:pt>
                <c:pt idx="74">
                  <c:v>4019</c:v>
                </c:pt>
                <c:pt idx="75">
                  <c:v>3906</c:v>
                </c:pt>
                <c:pt idx="76">
                  <c:v>3925</c:v>
                </c:pt>
                <c:pt idx="77">
                  <c:v>3705</c:v>
                </c:pt>
                <c:pt idx="78">
                  <c:v>3900</c:v>
                </c:pt>
                <c:pt idx="79">
                  <c:v>4053</c:v>
                </c:pt>
                <c:pt idx="80">
                  <c:v>4113</c:v>
                </c:pt>
                <c:pt idx="81">
                  <c:v>3730</c:v>
                </c:pt>
                <c:pt idx="82">
                  <c:v>3457</c:v>
                </c:pt>
                <c:pt idx="83">
                  <c:v>3587</c:v>
                </c:pt>
                <c:pt idx="84">
                  <c:v>3299</c:v>
                </c:pt>
                <c:pt idx="85">
                  <c:v>3297</c:v>
                </c:pt>
                <c:pt idx="86">
                  <c:v>3392</c:v>
                </c:pt>
                <c:pt idx="87">
                  <c:v>3155</c:v>
                </c:pt>
                <c:pt idx="88">
                  <c:v>3124</c:v>
                </c:pt>
                <c:pt idx="89">
                  <c:v>2867</c:v>
                </c:pt>
                <c:pt idx="90">
                  <c:v>2770</c:v>
                </c:pt>
                <c:pt idx="91">
                  <c:v>2585</c:v>
                </c:pt>
                <c:pt idx="92">
                  <c:v>2619</c:v>
                </c:pt>
                <c:pt idx="93">
                  <c:v>2681</c:v>
                </c:pt>
                <c:pt idx="94">
                  <c:v>2572</c:v>
                </c:pt>
                <c:pt idx="95">
                  <c:v>2400</c:v>
                </c:pt>
                <c:pt idx="96">
                  <c:v>2249</c:v>
                </c:pt>
                <c:pt idx="97">
                  <c:v>2204</c:v>
                </c:pt>
                <c:pt idx="98">
                  <c:v>2059</c:v>
                </c:pt>
                <c:pt idx="99">
                  <c:v>2112</c:v>
                </c:pt>
                <c:pt idx="100">
                  <c:v>2163</c:v>
                </c:pt>
                <c:pt idx="101">
                  <c:v>2159</c:v>
                </c:pt>
                <c:pt idx="102">
                  <c:v>2062</c:v>
                </c:pt>
                <c:pt idx="103">
                  <c:v>2016</c:v>
                </c:pt>
                <c:pt idx="104">
                  <c:v>2026</c:v>
                </c:pt>
                <c:pt idx="105">
                  <c:v>2007</c:v>
                </c:pt>
                <c:pt idx="106">
                  <c:v>2008</c:v>
                </c:pt>
                <c:pt idx="107">
                  <c:v>2014</c:v>
                </c:pt>
                <c:pt idx="108">
                  <c:v>2065</c:v>
                </c:pt>
                <c:pt idx="109">
                  <c:v>1936</c:v>
                </c:pt>
                <c:pt idx="110">
                  <c:v>1871</c:v>
                </c:pt>
                <c:pt idx="111">
                  <c:v>1921</c:v>
                </c:pt>
                <c:pt idx="112">
                  <c:v>1937</c:v>
                </c:pt>
                <c:pt idx="113">
                  <c:v>1960</c:v>
                </c:pt>
                <c:pt idx="114">
                  <c:v>1926</c:v>
                </c:pt>
                <c:pt idx="115">
                  <c:v>1824</c:v>
                </c:pt>
                <c:pt idx="116">
                  <c:v>1800</c:v>
                </c:pt>
                <c:pt idx="117">
                  <c:v>1797</c:v>
                </c:pt>
                <c:pt idx="118">
                  <c:v>1844</c:v>
                </c:pt>
                <c:pt idx="119">
                  <c:v>1889</c:v>
                </c:pt>
                <c:pt idx="120">
                  <c:v>1991</c:v>
                </c:pt>
                <c:pt idx="121">
                  <c:v>2075</c:v>
                </c:pt>
                <c:pt idx="122">
                  <c:v>1942</c:v>
                </c:pt>
                <c:pt idx="123">
                  <c:v>1910</c:v>
                </c:pt>
                <c:pt idx="124">
                  <c:v>1745</c:v>
                </c:pt>
                <c:pt idx="125">
                  <c:v>1978</c:v>
                </c:pt>
                <c:pt idx="126">
                  <c:v>2070</c:v>
                </c:pt>
                <c:pt idx="127">
                  <c:v>2159</c:v>
                </c:pt>
                <c:pt idx="128">
                  <c:v>2305</c:v>
                </c:pt>
                <c:pt idx="129">
                  <c:v>2310</c:v>
                </c:pt>
                <c:pt idx="130">
                  <c:v>2179</c:v>
                </c:pt>
                <c:pt idx="131">
                  <c:v>2037</c:v>
                </c:pt>
                <c:pt idx="132">
                  <c:v>2184</c:v>
                </c:pt>
                <c:pt idx="133">
                  <c:v>2247</c:v>
                </c:pt>
                <c:pt idx="134">
                  <c:v>2349</c:v>
                </c:pt>
                <c:pt idx="135">
                  <c:v>2399</c:v>
                </c:pt>
                <c:pt idx="136">
                  <c:v>2321</c:v>
                </c:pt>
                <c:pt idx="137">
                  <c:v>2124</c:v>
                </c:pt>
                <c:pt idx="138">
                  <c:v>1971</c:v>
                </c:pt>
                <c:pt idx="139">
                  <c:v>1919</c:v>
                </c:pt>
                <c:pt idx="140">
                  <c:v>1805</c:v>
                </c:pt>
                <c:pt idx="141">
                  <c:v>1887</c:v>
                </c:pt>
                <c:pt idx="142">
                  <c:v>1960</c:v>
                </c:pt>
                <c:pt idx="143">
                  <c:v>1832</c:v>
                </c:pt>
                <c:pt idx="144">
                  <c:v>1761</c:v>
                </c:pt>
                <c:pt idx="145">
                  <c:v>1662</c:v>
                </c:pt>
                <c:pt idx="146">
                  <c:v>1625</c:v>
                </c:pt>
                <c:pt idx="147">
                  <c:v>1568</c:v>
                </c:pt>
                <c:pt idx="148">
                  <c:v>1620</c:v>
                </c:pt>
                <c:pt idx="149">
                  <c:v>1658</c:v>
                </c:pt>
                <c:pt idx="150">
                  <c:v>1518</c:v>
                </c:pt>
                <c:pt idx="151">
                  <c:v>1474</c:v>
                </c:pt>
                <c:pt idx="152">
                  <c:v>1338</c:v>
                </c:pt>
                <c:pt idx="153">
                  <c:v>1367</c:v>
                </c:pt>
                <c:pt idx="154">
                  <c:v>1392</c:v>
                </c:pt>
                <c:pt idx="155">
                  <c:v>1447</c:v>
                </c:pt>
                <c:pt idx="156">
                  <c:v>1478</c:v>
                </c:pt>
                <c:pt idx="157">
                  <c:v>1449</c:v>
                </c:pt>
                <c:pt idx="158">
                  <c:v>1388</c:v>
                </c:pt>
                <c:pt idx="159">
                  <c:v>1334</c:v>
                </c:pt>
                <c:pt idx="160">
                  <c:v>1349</c:v>
                </c:pt>
                <c:pt idx="161">
                  <c:v>1344</c:v>
                </c:pt>
                <c:pt idx="162">
                  <c:v>1384</c:v>
                </c:pt>
                <c:pt idx="163">
                  <c:v>1435</c:v>
                </c:pt>
                <c:pt idx="164">
                  <c:v>1396</c:v>
                </c:pt>
                <c:pt idx="165">
                  <c:v>1276</c:v>
                </c:pt>
                <c:pt idx="166">
                  <c:v>1185</c:v>
                </c:pt>
                <c:pt idx="167">
                  <c:v>1164</c:v>
                </c:pt>
                <c:pt idx="168">
                  <c:v>1080</c:v>
                </c:pt>
                <c:pt idx="169">
                  <c:v>1058</c:v>
                </c:pt>
                <c:pt idx="170">
                  <c:v>1076</c:v>
                </c:pt>
                <c:pt idx="171">
                  <c:v>1016</c:v>
                </c:pt>
                <c:pt idx="172">
                  <c:v>955</c:v>
                </c:pt>
                <c:pt idx="173">
                  <c:v>885</c:v>
                </c:pt>
                <c:pt idx="174">
                  <c:v>929</c:v>
                </c:pt>
                <c:pt idx="175">
                  <c:v>903</c:v>
                </c:pt>
                <c:pt idx="176">
                  <c:v>914</c:v>
                </c:pt>
                <c:pt idx="177">
                  <c:v>943</c:v>
                </c:pt>
                <c:pt idx="178">
                  <c:v>934</c:v>
                </c:pt>
                <c:pt idx="179">
                  <c:v>902</c:v>
                </c:pt>
                <c:pt idx="180">
                  <c:v>881</c:v>
                </c:pt>
                <c:pt idx="181">
                  <c:v>930</c:v>
                </c:pt>
                <c:pt idx="182">
                  <c:v>897</c:v>
                </c:pt>
                <c:pt idx="183">
                  <c:v>903</c:v>
                </c:pt>
                <c:pt idx="184">
                  <c:v>899</c:v>
                </c:pt>
                <c:pt idx="185">
                  <c:v>834</c:v>
                </c:pt>
                <c:pt idx="186">
                  <c:v>805</c:v>
                </c:pt>
                <c:pt idx="187">
                  <c:v>762</c:v>
                </c:pt>
                <c:pt idx="188">
                  <c:v>757</c:v>
                </c:pt>
                <c:pt idx="189">
                  <c:v>816</c:v>
                </c:pt>
                <c:pt idx="190">
                  <c:v>880</c:v>
                </c:pt>
                <c:pt idx="191">
                  <c:v>882</c:v>
                </c:pt>
                <c:pt idx="192">
                  <c:v>909</c:v>
                </c:pt>
                <c:pt idx="193">
                  <c:v>906</c:v>
                </c:pt>
                <c:pt idx="194">
                  <c:v>907</c:v>
                </c:pt>
                <c:pt idx="195">
                  <c:v>937</c:v>
                </c:pt>
                <c:pt idx="196">
                  <c:v>874</c:v>
                </c:pt>
                <c:pt idx="197">
                  <c:v>856</c:v>
                </c:pt>
                <c:pt idx="198">
                  <c:v>841</c:v>
                </c:pt>
                <c:pt idx="199">
                  <c:v>842</c:v>
                </c:pt>
                <c:pt idx="200">
                  <c:v>823</c:v>
                </c:pt>
                <c:pt idx="201">
                  <c:v>822</c:v>
                </c:pt>
                <c:pt idx="202">
                  <c:v>826</c:v>
                </c:pt>
                <c:pt idx="203">
                  <c:v>830</c:v>
                </c:pt>
                <c:pt idx="204">
                  <c:v>797</c:v>
                </c:pt>
                <c:pt idx="205">
                  <c:v>791</c:v>
                </c:pt>
                <c:pt idx="206">
                  <c:v>775</c:v>
                </c:pt>
                <c:pt idx="207">
                  <c:v>739</c:v>
                </c:pt>
                <c:pt idx="208">
                  <c:v>738</c:v>
                </c:pt>
                <c:pt idx="209">
                  <c:v>751</c:v>
                </c:pt>
                <c:pt idx="210">
                  <c:v>721</c:v>
                </c:pt>
                <c:pt idx="211">
                  <c:v>714</c:v>
                </c:pt>
                <c:pt idx="212">
                  <c:v>699</c:v>
                </c:pt>
                <c:pt idx="213">
                  <c:v>670</c:v>
                </c:pt>
                <c:pt idx="214">
                  <c:v>660</c:v>
                </c:pt>
                <c:pt idx="215">
                  <c:v>658</c:v>
                </c:pt>
                <c:pt idx="216">
                  <c:v>656</c:v>
                </c:pt>
                <c:pt idx="217">
                  <c:v>627</c:v>
                </c:pt>
                <c:pt idx="218">
                  <c:v>624</c:v>
                </c:pt>
                <c:pt idx="219">
                  <c:v>609</c:v>
                </c:pt>
                <c:pt idx="220">
                  <c:v>579</c:v>
                </c:pt>
                <c:pt idx="221">
                  <c:v>574</c:v>
                </c:pt>
                <c:pt idx="222">
                  <c:v>573</c:v>
                </c:pt>
                <c:pt idx="223">
                  <c:v>574</c:v>
                </c:pt>
                <c:pt idx="224">
                  <c:v>564</c:v>
                </c:pt>
                <c:pt idx="225">
                  <c:v>543</c:v>
                </c:pt>
                <c:pt idx="226">
                  <c:v>531</c:v>
                </c:pt>
                <c:pt idx="227">
                  <c:v>516</c:v>
                </c:pt>
                <c:pt idx="228">
                  <c:v>513</c:v>
                </c:pt>
                <c:pt idx="229">
                  <c:v>515</c:v>
                </c:pt>
                <c:pt idx="230">
                  <c:v>521</c:v>
                </c:pt>
                <c:pt idx="231">
                  <c:v>515</c:v>
                </c:pt>
                <c:pt idx="232">
                  <c:v>507</c:v>
                </c:pt>
                <c:pt idx="233">
                  <c:v>516</c:v>
                </c:pt>
                <c:pt idx="234">
                  <c:v>520</c:v>
                </c:pt>
                <c:pt idx="235">
                  <c:v>512</c:v>
                </c:pt>
                <c:pt idx="236">
                  <c:v>511</c:v>
                </c:pt>
                <c:pt idx="237">
                  <c:v>512</c:v>
                </c:pt>
                <c:pt idx="238">
                  <c:v>511</c:v>
                </c:pt>
                <c:pt idx="239">
                  <c:v>509</c:v>
                </c:pt>
                <c:pt idx="240">
                  <c:v>508</c:v>
                </c:pt>
                <c:pt idx="241">
                  <c:v>508</c:v>
                </c:pt>
                <c:pt idx="242">
                  <c:v>502</c:v>
                </c:pt>
                <c:pt idx="243">
                  <c:v>502</c:v>
                </c:pt>
                <c:pt idx="244">
                  <c:v>504</c:v>
                </c:pt>
                <c:pt idx="245">
                  <c:v>499</c:v>
                </c:pt>
                <c:pt idx="246">
                  <c:v>496</c:v>
                </c:pt>
                <c:pt idx="247">
                  <c:v>490</c:v>
                </c:pt>
                <c:pt idx="248">
                  <c:v>489</c:v>
                </c:pt>
                <c:pt idx="249">
                  <c:v>482</c:v>
                </c:pt>
                <c:pt idx="250">
                  <c:v>485</c:v>
                </c:pt>
                <c:pt idx="251">
                  <c:v>489</c:v>
                </c:pt>
                <c:pt idx="252">
                  <c:v>489</c:v>
                </c:pt>
                <c:pt idx="253">
                  <c:v>486</c:v>
                </c:pt>
                <c:pt idx="254">
                  <c:v>486</c:v>
                </c:pt>
                <c:pt idx="255">
                  <c:v>486</c:v>
                </c:pt>
                <c:pt idx="256">
                  <c:v>482</c:v>
                </c:pt>
                <c:pt idx="257">
                  <c:v>481</c:v>
                </c:pt>
                <c:pt idx="258">
                  <c:v>483</c:v>
                </c:pt>
                <c:pt idx="259">
                  <c:v>479</c:v>
                </c:pt>
                <c:pt idx="260">
                  <c:v>481</c:v>
                </c:pt>
                <c:pt idx="261">
                  <c:v>478</c:v>
                </c:pt>
                <c:pt idx="262">
                  <c:v>477</c:v>
                </c:pt>
                <c:pt idx="263">
                  <c:v>476</c:v>
                </c:pt>
                <c:pt idx="264">
                  <c:v>475</c:v>
                </c:pt>
                <c:pt idx="265">
                  <c:v>476</c:v>
                </c:pt>
                <c:pt idx="266">
                  <c:v>475</c:v>
                </c:pt>
                <c:pt idx="267">
                  <c:v>474</c:v>
                </c:pt>
                <c:pt idx="268">
                  <c:v>472</c:v>
                </c:pt>
                <c:pt idx="269">
                  <c:v>471</c:v>
                </c:pt>
                <c:pt idx="270">
                  <c:v>471</c:v>
                </c:pt>
                <c:pt idx="271">
                  <c:v>468</c:v>
                </c:pt>
                <c:pt idx="272">
                  <c:v>468</c:v>
                </c:pt>
                <c:pt idx="273">
                  <c:v>466</c:v>
                </c:pt>
                <c:pt idx="274">
                  <c:v>469</c:v>
                </c:pt>
                <c:pt idx="275">
                  <c:v>465</c:v>
                </c:pt>
                <c:pt idx="276">
                  <c:v>461</c:v>
                </c:pt>
                <c:pt idx="277">
                  <c:v>460</c:v>
                </c:pt>
                <c:pt idx="278">
                  <c:v>460</c:v>
                </c:pt>
                <c:pt idx="279">
                  <c:v>462</c:v>
                </c:pt>
                <c:pt idx="280">
                  <c:v>461</c:v>
                </c:pt>
                <c:pt idx="281">
                  <c:v>460</c:v>
                </c:pt>
                <c:pt idx="282">
                  <c:v>459</c:v>
                </c:pt>
                <c:pt idx="283">
                  <c:v>460</c:v>
                </c:pt>
                <c:pt idx="284">
                  <c:v>458</c:v>
                </c:pt>
                <c:pt idx="285">
                  <c:v>457</c:v>
                </c:pt>
                <c:pt idx="286">
                  <c:v>457</c:v>
                </c:pt>
                <c:pt idx="287">
                  <c:v>457</c:v>
                </c:pt>
                <c:pt idx="288">
                  <c:v>457</c:v>
                </c:pt>
                <c:pt idx="289">
                  <c:v>457</c:v>
                </c:pt>
                <c:pt idx="290">
                  <c:v>457</c:v>
                </c:pt>
                <c:pt idx="291">
                  <c:v>457</c:v>
                </c:pt>
                <c:pt idx="292">
                  <c:v>457</c:v>
                </c:pt>
                <c:pt idx="293">
                  <c:v>457</c:v>
                </c:pt>
                <c:pt idx="294">
                  <c:v>457</c:v>
                </c:pt>
                <c:pt idx="295">
                  <c:v>458</c:v>
                </c:pt>
                <c:pt idx="296">
                  <c:v>458</c:v>
                </c:pt>
                <c:pt idx="297">
                  <c:v>457</c:v>
                </c:pt>
                <c:pt idx="298">
                  <c:v>457</c:v>
                </c:pt>
                <c:pt idx="299">
                  <c:v>457</c:v>
                </c:pt>
                <c:pt idx="300">
                  <c:v>457</c:v>
                </c:pt>
                <c:pt idx="301">
                  <c:v>457</c:v>
                </c:pt>
                <c:pt idx="302">
                  <c:v>456</c:v>
                </c:pt>
                <c:pt idx="303">
                  <c:v>457</c:v>
                </c:pt>
                <c:pt idx="304">
                  <c:v>455</c:v>
                </c:pt>
                <c:pt idx="305">
                  <c:v>455</c:v>
                </c:pt>
                <c:pt idx="306">
                  <c:v>456</c:v>
                </c:pt>
                <c:pt idx="307">
                  <c:v>456</c:v>
                </c:pt>
                <c:pt idx="308">
                  <c:v>457</c:v>
                </c:pt>
                <c:pt idx="309">
                  <c:v>457</c:v>
                </c:pt>
                <c:pt idx="310">
                  <c:v>456</c:v>
                </c:pt>
                <c:pt idx="311">
                  <c:v>456</c:v>
                </c:pt>
                <c:pt idx="312">
                  <c:v>456</c:v>
                </c:pt>
                <c:pt idx="313">
                  <c:v>456</c:v>
                </c:pt>
                <c:pt idx="314">
                  <c:v>456</c:v>
                </c:pt>
                <c:pt idx="315">
                  <c:v>456</c:v>
                </c:pt>
                <c:pt idx="316">
                  <c:v>456</c:v>
                </c:pt>
                <c:pt idx="317">
                  <c:v>456</c:v>
                </c:pt>
                <c:pt idx="318">
                  <c:v>456</c:v>
                </c:pt>
                <c:pt idx="319">
                  <c:v>456</c:v>
                </c:pt>
                <c:pt idx="320">
                  <c:v>456</c:v>
                </c:pt>
                <c:pt idx="321">
                  <c:v>456</c:v>
                </c:pt>
                <c:pt idx="322">
                  <c:v>455</c:v>
                </c:pt>
                <c:pt idx="323">
                  <c:v>455</c:v>
                </c:pt>
                <c:pt idx="324">
                  <c:v>455</c:v>
                </c:pt>
                <c:pt idx="325">
                  <c:v>455</c:v>
                </c:pt>
                <c:pt idx="326">
                  <c:v>456</c:v>
                </c:pt>
                <c:pt idx="327">
                  <c:v>455</c:v>
                </c:pt>
                <c:pt idx="328">
                  <c:v>455</c:v>
                </c:pt>
                <c:pt idx="329">
                  <c:v>455</c:v>
                </c:pt>
                <c:pt idx="330">
                  <c:v>455</c:v>
                </c:pt>
                <c:pt idx="331">
                  <c:v>455</c:v>
                </c:pt>
                <c:pt idx="332">
                  <c:v>455</c:v>
                </c:pt>
                <c:pt idx="333">
                  <c:v>455</c:v>
                </c:pt>
                <c:pt idx="334">
                  <c:v>455</c:v>
                </c:pt>
                <c:pt idx="335">
                  <c:v>455</c:v>
                </c:pt>
                <c:pt idx="336">
                  <c:v>454</c:v>
                </c:pt>
                <c:pt idx="337">
                  <c:v>454</c:v>
                </c:pt>
                <c:pt idx="338">
                  <c:v>454</c:v>
                </c:pt>
                <c:pt idx="339">
                  <c:v>454</c:v>
                </c:pt>
                <c:pt idx="340">
                  <c:v>454</c:v>
                </c:pt>
                <c:pt idx="341">
                  <c:v>454</c:v>
                </c:pt>
                <c:pt idx="342">
                  <c:v>454</c:v>
                </c:pt>
                <c:pt idx="343">
                  <c:v>454</c:v>
                </c:pt>
                <c:pt idx="344">
                  <c:v>454</c:v>
                </c:pt>
                <c:pt idx="345">
                  <c:v>454</c:v>
                </c:pt>
                <c:pt idx="346">
                  <c:v>454</c:v>
                </c:pt>
                <c:pt idx="347">
                  <c:v>454</c:v>
                </c:pt>
                <c:pt idx="348">
                  <c:v>454</c:v>
                </c:pt>
                <c:pt idx="349">
                  <c:v>455</c:v>
                </c:pt>
                <c:pt idx="350">
                  <c:v>456</c:v>
                </c:pt>
                <c:pt idx="351">
                  <c:v>456</c:v>
                </c:pt>
                <c:pt idx="352">
                  <c:v>457</c:v>
                </c:pt>
                <c:pt idx="353">
                  <c:v>456</c:v>
                </c:pt>
                <c:pt idx="354">
                  <c:v>456</c:v>
                </c:pt>
                <c:pt idx="355">
                  <c:v>456</c:v>
                </c:pt>
                <c:pt idx="356">
                  <c:v>458</c:v>
                </c:pt>
                <c:pt idx="357">
                  <c:v>458</c:v>
                </c:pt>
                <c:pt idx="358">
                  <c:v>458</c:v>
                </c:pt>
                <c:pt idx="359">
                  <c:v>458</c:v>
                </c:pt>
                <c:pt idx="360">
                  <c:v>458</c:v>
                </c:pt>
                <c:pt idx="361">
                  <c:v>457</c:v>
                </c:pt>
                <c:pt idx="362">
                  <c:v>457</c:v>
                </c:pt>
                <c:pt idx="363">
                  <c:v>457</c:v>
                </c:pt>
                <c:pt idx="364">
                  <c:v>457</c:v>
                </c:pt>
                <c:pt idx="365">
                  <c:v>459</c:v>
                </c:pt>
                <c:pt idx="366">
                  <c:v>463</c:v>
                </c:pt>
                <c:pt idx="367">
                  <c:v>465</c:v>
                </c:pt>
                <c:pt idx="368">
                  <c:v>466</c:v>
                </c:pt>
                <c:pt idx="369">
                  <c:v>465</c:v>
                </c:pt>
                <c:pt idx="370">
                  <c:v>469</c:v>
                </c:pt>
                <c:pt idx="371">
                  <c:v>466</c:v>
                </c:pt>
                <c:pt idx="372">
                  <c:v>466</c:v>
                </c:pt>
                <c:pt idx="373">
                  <c:v>466</c:v>
                </c:pt>
                <c:pt idx="374">
                  <c:v>467</c:v>
                </c:pt>
                <c:pt idx="375">
                  <c:v>467</c:v>
                </c:pt>
                <c:pt idx="376">
                  <c:v>467</c:v>
                </c:pt>
                <c:pt idx="377">
                  <c:v>468</c:v>
                </c:pt>
                <c:pt idx="378">
                  <c:v>468</c:v>
                </c:pt>
                <c:pt idx="379">
                  <c:v>468</c:v>
                </c:pt>
                <c:pt idx="380">
                  <c:v>467</c:v>
                </c:pt>
                <c:pt idx="381">
                  <c:v>465</c:v>
                </c:pt>
                <c:pt idx="382">
                  <c:v>465</c:v>
                </c:pt>
                <c:pt idx="383">
                  <c:v>465</c:v>
                </c:pt>
                <c:pt idx="384">
                  <c:v>466</c:v>
                </c:pt>
                <c:pt idx="385">
                  <c:v>463</c:v>
                </c:pt>
                <c:pt idx="386">
                  <c:v>463</c:v>
                </c:pt>
                <c:pt idx="387">
                  <c:v>461</c:v>
                </c:pt>
                <c:pt idx="388">
                  <c:v>461</c:v>
                </c:pt>
                <c:pt idx="389">
                  <c:v>461</c:v>
                </c:pt>
                <c:pt idx="390">
                  <c:v>461</c:v>
                </c:pt>
                <c:pt idx="391">
                  <c:v>463</c:v>
                </c:pt>
                <c:pt idx="392">
                  <c:v>461</c:v>
                </c:pt>
                <c:pt idx="393">
                  <c:v>462</c:v>
                </c:pt>
                <c:pt idx="394">
                  <c:v>462</c:v>
                </c:pt>
                <c:pt idx="395">
                  <c:v>462</c:v>
                </c:pt>
                <c:pt idx="396">
                  <c:v>463</c:v>
                </c:pt>
                <c:pt idx="397">
                  <c:v>464</c:v>
                </c:pt>
                <c:pt idx="398">
                  <c:v>466</c:v>
                </c:pt>
                <c:pt idx="399">
                  <c:v>468</c:v>
                </c:pt>
                <c:pt idx="400">
                  <c:v>473</c:v>
                </c:pt>
                <c:pt idx="401">
                  <c:v>472</c:v>
                </c:pt>
                <c:pt idx="402">
                  <c:v>497</c:v>
                </c:pt>
                <c:pt idx="403">
                  <c:v>497</c:v>
                </c:pt>
                <c:pt idx="404">
                  <c:v>497</c:v>
                </c:pt>
                <c:pt idx="405">
                  <c:v>498</c:v>
                </c:pt>
                <c:pt idx="406">
                  <c:v>499</c:v>
                </c:pt>
                <c:pt idx="407">
                  <c:v>517</c:v>
                </c:pt>
                <c:pt idx="408">
                  <c:v>519</c:v>
                </c:pt>
                <c:pt idx="409">
                  <c:v>519</c:v>
                </c:pt>
                <c:pt idx="410">
                  <c:v>519</c:v>
                </c:pt>
                <c:pt idx="411">
                  <c:v>518</c:v>
                </c:pt>
                <c:pt idx="412">
                  <c:v>522</c:v>
                </c:pt>
                <c:pt idx="413">
                  <c:v>523</c:v>
                </c:pt>
                <c:pt idx="414">
                  <c:v>520</c:v>
                </c:pt>
                <c:pt idx="415">
                  <c:v>520</c:v>
                </c:pt>
                <c:pt idx="416">
                  <c:v>504</c:v>
                </c:pt>
                <c:pt idx="417">
                  <c:v>503</c:v>
                </c:pt>
                <c:pt idx="418">
                  <c:v>501</c:v>
                </c:pt>
                <c:pt idx="419">
                  <c:v>514</c:v>
                </c:pt>
                <c:pt idx="420">
                  <c:v>522</c:v>
                </c:pt>
                <c:pt idx="421">
                  <c:v>530</c:v>
                </c:pt>
                <c:pt idx="422">
                  <c:v>514</c:v>
                </c:pt>
                <c:pt idx="423">
                  <c:v>533</c:v>
                </c:pt>
                <c:pt idx="424">
                  <c:v>535</c:v>
                </c:pt>
                <c:pt idx="425">
                  <c:v>544</c:v>
                </c:pt>
                <c:pt idx="426">
                  <c:v>580</c:v>
                </c:pt>
                <c:pt idx="427">
                  <c:v>592</c:v>
                </c:pt>
                <c:pt idx="428">
                  <c:v>596</c:v>
                </c:pt>
                <c:pt idx="429">
                  <c:v>644</c:v>
                </c:pt>
                <c:pt idx="430">
                  <c:v>663</c:v>
                </c:pt>
                <c:pt idx="431">
                  <c:v>657</c:v>
                </c:pt>
                <c:pt idx="432">
                  <c:v>656</c:v>
                </c:pt>
                <c:pt idx="433">
                  <c:v>681</c:v>
                </c:pt>
                <c:pt idx="434">
                  <c:v>696</c:v>
                </c:pt>
                <c:pt idx="435">
                  <c:v>703</c:v>
                </c:pt>
                <c:pt idx="436">
                  <c:v>712</c:v>
                </c:pt>
                <c:pt idx="437">
                  <c:v>723</c:v>
                </c:pt>
                <c:pt idx="438">
                  <c:v>720</c:v>
                </c:pt>
                <c:pt idx="439">
                  <c:v>725</c:v>
                </c:pt>
                <c:pt idx="440">
                  <c:v>754</c:v>
                </c:pt>
                <c:pt idx="441">
                  <c:v>756</c:v>
                </c:pt>
                <c:pt idx="442">
                  <c:v>760</c:v>
                </c:pt>
                <c:pt idx="443">
                  <c:v>790</c:v>
                </c:pt>
                <c:pt idx="444">
                  <c:v>845</c:v>
                </c:pt>
                <c:pt idx="445">
                  <c:v>848</c:v>
                </c:pt>
                <c:pt idx="446">
                  <c:v>845</c:v>
                </c:pt>
                <c:pt idx="447">
                  <c:v>887</c:v>
                </c:pt>
                <c:pt idx="448">
                  <c:v>873</c:v>
                </c:pt>
                <c:pt idx="449">
                  <c:v>881</c:v>
                </c:pt>
                <c:pt idx="450">
                  <c:v>880</c:v>
                </c:pt>
                <c:pt idx="451">
                  <c:v>913</c:v>
                </c:pt>
                <c:pt idx="452">
                  <c:v>898</c:v>
                </c:pt>
                <c:pt idx="453">
                  <c:v>899</c:v>
                </c:pt>
                <c:pt idx="454">
                  <c:v>933</c:v>
                </c:pt>
                <c:pt idx="455">
                  <c:v>912</c:v>
                </c:pt>
                <c:pt idx="456">
                  <c:v>885</c:v>
                </c:pt>
                <c:pt idx="457">
                  <c:v>887</c:v>
                </c:pt>
                <c:pt idx="458">
                  <c:v>782</c:v>
                </c:pt>
                <c:pt idx="459">
                  <c:v>802</c:v>
                </c:pt>
                <c:pt idx="460">
                  <c:v>782</c:v>
                </c:pt>
                <c:pt idx="461">
                  <c:v>803</c:v>
                </c:pt>
                <c:pt idx="462">
                  <c:v>777</c:v>
                </c:pt>
                <c:pt idx="463">
                  <c:v>768</c:v>
                </c:pt>
                <c:pt idx="464">
                  <c:v>757</c:v>
                </c:pt>
                <c:pt idx="465">
                  <c:v>715</c:v>
                </c:pt>
                <c:pt idx="466">
                  <c:v>700</c:v>
                </c:pt>
                <c:pt idx="467">
                  <c:v>698</c:v>
                </c:pt>
                <c:pt idx="468">
                  <c:v>707</c:v>
                </c:pt>
                <c:pt idx="469">
                  <c:v>693</c:v>
                </c:pt>
                <c:pt idx="470">
                  <c:v>686</c:v>
                </c:pt>
                <c:pt idx="471">
                  <c:v>662</c:v>
                </c:pt>
                <c:pt idx="472">
                  <c:v>644</c:v>
                </c:pt>
                <c:pt idx="473">
                  <c:v>596</c:v>
                </c:pt>
                <c:pt idx="474">
                  <c:v>597</c:v>
                </c:pt>
                <c:pt idx="475">
                  <c:v>609</c:v>
                </c:pt>
                <c:pt idx="476">
                  <c:v>583</c:v>
                </c:pt>
                <c:pt idx="477">
                  <c:v>564</c:v>
                </c:pt>
                <c:pt idx="478">
                  <c:v>533</c:v>
                </c:pt>
                <c:pt idx="479">
                  <c:v>511</c:v>
                </c:pt>
                <c:pt idx="480">
                  <c:v>500</c:v>
                </c:pt>
                <c:pt idx="481">
                  <c:v>495</c:v>
                </c:pt>
                <c:pt idx="482">
                  <c:v>504</c:v>
                </c:pt>
                <c:pt idx="483">
                  <c:v>479</c:v>
                </c:pt>
                <c:pt idx="484">
                  <c:v>473</c:v>
                </c:pt>
                <c:pt idx="485">
                  <c:v>458</c:v>
                </c:pt>
                <c:pt idx="486">
                  <c:v>451</c:v>
                </c:pt>
                <c:pt idx="487">
                  <c:v>443</c:v>
                </c:pt>
                <c:pt idx="488">
                  <c:v>438</c:v>
                </c:pt>
                <c:pt idx="489">
                  <c:v>440</c:v>
                </c:pt>
                <c:pt idx="490">
                  <c:v>428</c:v>
                </c:pt>
                <c:pt idx="491">
                  <c:v>426</c:v>
                </c:pt>
                <c:pt idx="492">
                  <c:v>425</c:v>
                </c:pt>
                <c:pt idx="493">
                  <c:v>422</c:v>
                </c:pt>
                <c:pt idx="494">
                  <c:v>420</c:v>
                </c:pt>
                <c:pt idx="495">
                  <c:v>419</c:v>
                </c:pt>
                <c:pt idx="496">
                  <c:v>420</c:v>
                </c:pt>
                <c:pt idx="497">
                  <c:v>412</c:v>
                </c:pt>
                <c:pt idx="498">
                  <c:v>413</c:v>
                </c:pt>
                <c:pt idx="499">
                  <c:v>410</c:v>
                </c:pt>
                <c:pt idx="500">
                  <c:v>412</c:v>
                </c:pt>
                <c:pt idx="501">
                  <c:v>409</c:v>
                </c:pt>
                <c:pt idx="502">
                  <c:v>412</c:v>
                </c:pt>
                <c:pt idx="503">
                  <c:v>432</c:v>
                </c:pt>
                <c:pt idx="504">
                  <c:v>441</c:v>
                </c:pt>
                <c:pt idx="505">
                  <c:v>440</c:v>
                </c:pt>
                <c:pt idx="506">
                  <c:v>457</c:v>
                </c:pt>
                <c:pt idx="507">
                  <c:v>461</c:v>
                </c:pt>
                <c:pt idx="508">
                  <c:v>481</c:v>
                </c:pt>
                <c:pt idx="509">
                  <c:v>485</c:v>
                </c:pt>
                <c:pt idx="510">
                  <c:v>522</c:v>
                </c:pt>
                <c:pt idx="511">
                  <c:v>554</c:v>
                </c:pt>
                <c:pt idx="512">
                  <c:v>590</c:v>
                </c:pt>
                <c:pt idx="513">
                  <c:v>611</c:v>
                </c:pt>
                <c:pt idx="514">
                  <c:v>648</c:v>
                </c:pt>
                <c:pt idx="515">
                  <c:v>644</c:v>
                </c:pt>
                <c:pt idx="516">
                  <c:v>640</c:v>
                </c:pt>
                <c:pt idx="517">
                  <c:v>664</c:v>
                </c:pt>
                <c:pt idx="518">
                  <c:v>683</c:v>
                </c:pt>
                <c:pt idx="519">
                  <c:v>706</c:v>
                </c:pt>
                <c:pt idx="520">
                  <c:v>718</c:v>
                </c:pt>
                <c:pt idx="521">
                  <c:v>738</c:v>
                </c:pt>
                <c:pt idx="522">
                  <c:v>703</c:v>
                </c:pt>
                <c:pt idx="523">
                  <c:v>679</c:v>
                </c:pt>
                <c:pt idx="524">
                  <c:v>713</c:v>
                </c:pt>
                <c:pt idx="525">
                  <c:v>712</c:v>
                </c:pt>
                <c:pt idx="526">
                  <c:v>731</c:v>
                </c:pt>
                <c:pt idx="527">
                  <c:v>765</c:v>
                </c:pt>
                <c:pt idx="528">
                  <c:v>782</c:v>
                </c:pt>
                <c:pt idx="529">
                  <c:v>731</c:v>
                </c:pt>
                <c:pt idx="530">
                  <c:v>709</c:v>
                </c:pt>
                <c:pt idx="531">
                  <c:v>731</c:v>
                </c:pt>
                <c:pt idx="532">
                  <c:v>720</c:v>
                </c:pt>
                <c:pt idx="533">
                  <c:v>758</c:v>
                </c:pt>
                <c:pt idx="534">
                  <c:v>817</c:v>
                </c:pt>
                <c:pt idx="535">
                  <c:v>768</c:v>
                </c:pt>
                <c:pt idx="536">
                  <c:v>703</c:v>
                </c:pt>
                <c:pt idx="537">
                  <c:v>691</c:v>
                </c:pt>
                <c:pt idx="538">
                  <c:v>661</c:v>
                </c:pt>
                <c:pt idx="539">
                  <c:v>632</c:v>
                </c:pt>
                <c:pt idx="540">
                  <c:v>662</c:v>
                </c:pt>
                <c:pt idx="541">
                  <c:v>672</c:v>
                </c:pt>
                <c:pt idx="542">
                  <c:v>630</c:v>
                </c:pt>
                <c:pt idx="543">
                  <c:v>588</c:v>
                </c:pt>
                <c:pt idx="544">
                  <c:v>494</c:v>
                </c:pt>
                <c:pt idx="545">
                  <c:v>469</c:v>
                </c:pt>
                <c:pt idx="546">
                  <c:v>458</c:v>
                </c:pt>
                <c:pt idx="547">
                  <c:v>477</c:v>
                </c:pt>
                <c:pt idx="548">
                  <c:v>483</c:v>
                </c:pt>
                <c:pt idx="549">
                  <c:v>461</c:v>
                </c:pt>
                <c:pt idx="550">
                  <c:v>400</c:v>
                </c:pt>
                <c:pt idx="551">
                  <c:v>374</c:v>
                </c:pt>
                <c:pt idx="552">
                  <c:v>354</c:v>
                </c:pt>
                <c:pt idx="553">
                  <c:v>381</c:v>
                </c:pt>
                <c:pt idx="554">
                  <c:v>381</c:v>
                </c:pt>
                <c:pt idx="555">
                  <c:v>398</c:v>
                </c:pt>
                <c:pt idx="556">
                  <c:v>342</c:v>
                </c:pt>
                <c:pt idx="557">
                  <c:v>301</c:v>
                </c:pt>
                <c:pt idx="558">
                  <c:v>280</c:v>
                </c:pt>
                <c:pt idx="559">
                  <c:v>282</c:v>
                </c:pt>
                <c:pt idx="560">
                  <c:v>274</c:v>
                </c:pt>
                <c:pt idx="561">
                  <c:v>293</c:v>
                </c:pt>
                <c:pt idx="562">
                  <c:v>303</c:v>
                </c:pt>
                <c:pt idx="563">
                  <c:v>293</c:v>
                </c:pt>
                <c:pt idx="564">
                  <c:v>225</c:v>
                </c:pt>
                <c:pt idx="565">
                  <c:v>204</c:v>
                </c:pt>
                <c:pt idx="566">
                  <c:v>211</c:v>
                </c:pt>
                <c:pt idx="567">
                  <c:v>207</c:v>
                </c:pt>
                <c:pt idx="568">
                  <c:v>224</c:v>
                </c:pt>
                <c:pt idx="569">
                  <c:v>246</c:v>
                </c:pt>
                <c:pt idx="570">
                  <c:v>245</c:v>
                </c:pt>
                <c:pt idx="571">
                  <c:v>229</c:v>
                </c:pt>
                <c:pt idx="572">
                  <c:v>197</c:v>
                </c:pt>
                <c:pt idx="573">
                  <c:v>197</c:v>
                </c:pt>
                <c:pt idx="574">
                  <c:v>191</c:v>
                </c:pt>
                <c:pt idx="575">
                  <c:v>199</c:v>
                </c:pt>
                <c:pt idx="576">
                  <c:v>188</c:v>
                </c:pt>
                <c:pt idx="577">
                  <c:v>153</c:v>
                </c:pt>
                <c:pt idx="578">
                  <c:v>153</c:v>
                </c:pt>
                <c:pt idx="579">
                  <c:v>153</c:v>
                </c:pt>
                <c:pt idx="580">
                  <c:v>153</c:v>
                </c:pt>
                <c:pt idx="581">
                  <c:v>153</c:v>
                </c:pt>
                <c:pt idx="582">
                  <c:v>153</c:v>
                </c:pt>
                <c:pt idx="583">
                  <c:v>153</c:v>
                </c:pt>
                <c:pt idx="584">
                  <c:v>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List1!$C$2:$C$586</c:f>
              <c:numCache>
                <c:formatCode>General</c:formatCode>
                <c:ptCount val="585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9</c:v>
                </c:pt>
                <c:pt idx="18">
                  <c:v>10</c:v>
                </c:pt>
                <c:pt idx="19">
                  <c:v>12</c:v>
                </c:pt>
                <c:pt idx="20">
                  <c:v>14</c:v>
                </c:pt>
                <c:pt idx="21">
                  <c:v>17</c:v>
                </c:pt>
                <c:pt idx="22">
                  <c:v>14</c:v>
                </c:pt>
                <c:pt idx="23">
                  <c:v>18</c:v>
                </c:pt>
                <c:pt idx="24">
                  <c:v>29</c:v>
                </c:pt>
                <c:pt idx="25">
                  <c:v>33</c:v>
                </c:pt>
                <c:pt idx="26">
                  <c:v>34</c:v>
                </c:pt>
                <c:pt idx="27">
                  <c:v>39</c:v>
                </c:pt>
                <c:pt idx="28">
                  <c:v>60</c:v>
                </c:pt>
                <c:pt idx="29">
                  <c:v>61</c:v>
                </c:pt>
                <c:pt idx="30">
                  <c:v>89</c:v>
                </c:pt>
                <c:pt idx="31">
                  <c:v>181</c:v>
                </c:pt>
                <c:pt idx="32">
                  <c:v>205</c:v>
                </c:pt>
                <c:pt idx="33">
                  <c:v>219</c:v>
                </c:pt>
                <c:pt idx="34">
                  <c:v>318</c:v>
                </c:pt>
                <c:pt idx="35">
                  <c:v>357</c:v>
                </c:pt>
                <c:pt idx="36">
                  <c:v>385</c:v>
                </c:pt>
                <c:pt idx="37">
                  <c:v>469</c:v>
                </c:pt>
                <c:pt idx="38">
                  <c:v>556</c:v>
                </c:pt>
                <c:pt idx="39">
                  <c:v>592</c:v>
                </c:pt>
                <c:pt idx="40">
                  <c:v>607</c:v>
                </c:pt>
                <c:pt idx="41">
                  <c:v>750</c:v>
                </c:pt>
                <c:pt idx="42">
                  <c:v>878</c:v>
                </c:pt>
                <c:pt idx="43">
                  <c:v>1051</c:v>
                </c:pt>
                <c:pt idx="44">
                  <c:v>1234</c:v>
                </c:pt>
                <c:pt idx="45">
                  <c:v>1405</c:v>
                </c:pt>
                <c:pt idx="46">
                  <c:v>1474</c:v>
                </c:pt>
                <c:pt idx="47">
                  <c:v>1469</c:v>
                </c:pt>
                <c:pt idx="48">
                  <c:v>1620</c:v>
                </c:pt>
                <c:pt idx="49">
                  <c:v>1768</c:v>
                </c:pt>
                <c:pt idx="50">
                  <c:v>2003</c:v>
                </c:pt>
                <c:pt idx="51">
                  <c:v>2166</c:v>
                </c:pt>
                <c:pt idx="52">
                  <c:v>2442</c:v>
                </c:pt>
                <c:pt idx="53">
                  <c:v>2512</c:v>
                </c:pt>
                <c:pt idx="54">
                  <c:v>2480</c:v>
                </c:pt>
                <c:pt idx="55">
                  <c:v>2657</c:v>
                </c:pt>
                <c:pt idx="56">
                  <c:v>2848</c:v>
                </c:pt>
                <c:pt idx="57">
                  <c:v>2864</c:v>
                </c:pt>
                <c:pt idx="58">
                  <c:v>3278</c:v>
                </c:pt>
                <c:pt idx="59">
                  <c:v>3425</c:v>
                </c:pt>
                <c:pt idx="60">
                  <c:v>3338</c:v>
                </c:pt>
                <c:pt idx="61">
                  <c:v>3181</c:v>
                </c:pt>
                <c:pt idx="62">
                  <c:v>3216</c:v>
                </c:pt>
                <c:pt idx="63">
                  <c:v>3152</c:v>
                </c:pt>
                <c:pt idx="64">
                  <c:v>3350</c:v>
                </c:pt>
                <c:pt idx="65">
                  <c:v>3535</c:v>
                </c:pt>
                <c:pt idx="66">
                  <c:v>3354</c:v>
                </c:pt>
                <c:pt idx="67">
                  <c:v>3108</c:v>
                </c:pt>
                <c:pt idx="68">
                  <c:v>3009</c:v>
                </c:pt>
                <c:pt idx="69">
                  <c:v>2865</c:v>
                </c:pt>
                <c:pt idx="70">
                  <c:v>2728</c:v>
                </c:pt>
                <c:pt idx="71">
                  <c:v>2862</c:v>
                </c:pt>
                <c:pt idx="72">
                  <c:v>2998</c:v>
                </c:pt>
                <c:pt idx="73">
                  <c:v>2905</c:v>
                </c:pt>
                <c:pt idx="74">
                  <c:v>2705</c:v>
                </c:pt>
                <c:pt idx="75">
                  <c:v>2465</c:v>
                </c:pt>
                <c:pt idx="76">
                  <c:v>2443</c:v>
                </c:pt>
                <c:pt idx="77">
                  <c:v>2291</c:v>
                </c:pt>
                <c:pt idx="78">
                  <c:v>2395</c:v>
                </c:pt>
                <c:pt idx="79">
                  <c:v>2477</c:v>
                </c:pt>
                <c:pt idx="80">
                  <c:v>2429</c:v>
                </c:pt>
                <c:pt idx="81">
                  <c:v>2175</c:v>
                </c:pt>
                <c:pt idx="82">
                  <c:v>1991</c:v>
                </c:pt>
                <c:pt idx="83">
                  <c:v>1980</c:v>
                </c:pt>
                <c:pt idx="84">
                  <c:v>1922</c:v>
                </c:pt>
                <c:pt idx="85">
                  <c:v>1948</c:v>
                </c:pt>
                <c:pt idx="86">
                  <c:v>1975</c:v>
                </c:pt>
                <c:pt idx="87">
                  <c:v>1931</c:v>
                </c:pt>
                <c:pt idx="88">
                  <c:v>1892</c:v>
                </c:pt>
                <c:pt idx="89">
                  <c:v>1747</c:v>
                </c:pt>
                <c:pt idx="90">
                  <c:v>1731</c:v>
                </c:pt>
                <c:pt idx="91">
                  <c:v>1728</c:v>
                </c:pt>
                <c:pt idx="92">
                  <c:v>1783</c:v>
                </c:pt>
                <c:pt idx="93">
                  <c:v>1827</c:v>
                </c:pt>
                <c:pt idx="94">
                  <c:v>1764</c:v>
                </c:pt>
                <c:pt idx="95">
                  <c:v>1703</c:v>
                </c:pt>
                <c:pt idx="96">
                  <c:v>1632</c:v>
                </c:pt>
                <c:pt idx="97">
                  <c:v>1693</c:v>
                </c:pt>
                <c:pt idx="98">
                  <c:v>1685</c:v>
                </c:pt>
                <c:pt idx="99">
                  <c:v>1726</c:v>
                </c:pt>
                <c:pt idx="100">
                  <c:v>1776</c:v>
                </c:pt>
                <c:pt idx="101">
                  <c:v>1758</c:v>
                </c:pt>
                <c:pt idx="102">
                  <c:v>1686</c:v>
                </c:pt>
                <c:pt idx="103">
                  <c:v>1647</c:v>
                </c:pt>
                <c:pt idx="104">
                  <c:v>1695</c:v>
                </c:pt>
                <c:pt idx="105">
                  <c:v>1700</c:v>
                </c:pt>
                <c:pt idx="106">
                  <c:v>1771</c:v>
                </c:pt>
                <c:pt idx="107">
                  <c:v>1809</c:v>
                </c:pt>
                <c:pt idx="108">
                  <c:v>1765</c:v>
                </c:pt>
                <c:pt idx="109">
                  <c:v>1715</c:v>
                </c:pt>
                <c:pt idx="110">
                  <c:v>1666</c:v>
                </c:pt>
                <c:pt idx="111">
                  <c:v>1776</c:v>
                </c:pt>
                <c:pt idx="112">
                  <c:v>1827</c:v>
                </c:pt>
                <c:pt idx="113">
                  <c:v>1926</c:v>
                </c:pt>
                <c:pt idx="114">
                  <c:v>1947</c:v>
                </c:pt>
                <c:pt idx="115">
                  <c:v>1898</c:v>
                </c:pt>
                <c:pt idx="116">
                  <c:v>1857</c:v>
                </c:pt>
                <c:pt idx="117">
                  <c:v>1827</c:v>
                </c:pt>
                <c:pt idx="118">
                  <c:v>1942</c:v>
                </c:pt>
                <c:pt idx="119">
                  <c:v>2030</c:v>
                </c:pt>
                <c:pt idx="120">
                  <c:v>2109</c:v>
                </c:pt>
                <c:pt idx="121">
                  <c:v>2187</c:v>
                </c:pt>
                <c:pt idx="122">
                  <c:v>2095</c:v>
                </c:pt>
                <c:pt idx="123">
                  <c:v>2029</c:v>
                </c:pt>
                <c:pt idx="124">
                  <c:v>1962</c:v>
                </c:pt>
                <c:pt idx="125">
                  <c:v>2261</c:v>
                </c:pt>
                <c:pt idx="126">
                  <c:v>2389</c:v>
                </c:pt>
                <c:pt idx="127">
                  <c:v>2475</c:v>
                </c:pt>
                <c:pt idx="128">
                  <c:v>2547</c:v>
                </c:pt>
                <c:pt idx="129">
                  <c:v>2461</c:v>
                </c:pt>
                <c:pt idx="130">
                  <c:v>2361</c:v>
                </c:pt>
                <c:pt idx="131">
                  <c:v>2240</c:v>
                </c:pt>
                <c:pt idx="132">
                  <c:v>2408</c:v>
                </c:pt>
                <c:pt idx="133">
                  <c:v>2498</c:v>
                </c:pt>
                <c:pt idx="134">
                  <c:v>2576</c:v>
                </c:pt>
                <c:pt idx="135">
                  <c:v>2584</c:v>
                </c:pt>
                <c:pt idx="136">
                  <c:v>2445</c:v>
                </c:pt>
                <c:pt idx="137">
                  <c:v>2303</c:v>
                </c:pt>
                <c:pt idx="138">
                  <c:v>2194</c:v>
                </c:pt>
                <c:pt idx="139">
                  <c:v>2198</c:v>
                </c:pt>
                <c:pt idx="140">
                  <c:v>2150</c:v>
                </c:pt>
                <c:pt idx="141">
                  <c:v>2185</c:v>
                </c:pt>
                <c:pt idx="142">
                  <c:v>2223</c:v>
                </c:pt>
                <c:pt idx="143">
                  <c:v>2131</c:v>
                </c:pt>
                <c:pt idx="144">
                  <c:v>2057</c:v>
                </c:pt>
                <c:pt idx="145">
                  <c:v>1948</c:v>
                </c:pt>
                <c:pt idx="146">
                  <c:v>1962</c:v>
                </c:pt>
                <c:pt idx="147">
                  <c:v>1970</c:v>
                </c:pt>
                <c:pt idx="148">
                  <c:v>1997</c:v>
                </c:pt>
                <c:pt idx="149">
                  <c:v>2011</c:v>
                </c:pt>
                <c:pt idx="150">
                  <c:v>1933</c:v>
                </c:pt>
                <c:pt idx="151">
                  <c:v>1866</c:v>
                </c:pt>
                <c:pt idx="152">
                  <c:v>1793</c:v>
                </c:pt>
                <c:pt idx="153">
                  <c:v>1816</c:v>
                </c:pt>
                <c:pt idx="154">
                  <c:v>1816</c:v>
                </c:pt>
                <c:pt idx="155">
                  <c:v>1857</c:v>
                </c:pt>
                <c:pt idx="156">
                  <c:v>1884</c:v>
                </c:pt>
                <c:pt idx="157">
                  <c:v>1832</c:v>
                </c:pt>
                <c:pt idx="158">
                  <c:v>1763</c:v>
                </c:pt>
                <c:pt idx="159">
                  <c:v>1720</c:v>
                </c:pt>
                <c:pt idx="160">
                  <c:v>1747</c:v>
                </c:pt>
                <c:pt idx="161">
                  <c:v>1716</c:v>
                </c:pt>
                <c:pt idx="162">
                  <c:v>1734</c:v>
                </c:pt>
                <c:pt idx="163">
                  <c:v>1763</c:v>
                </c:pt>
                <c:pt idx="164">
                  <c:v>1725</c:v>
                </c:pt>
                <c:pt idx="165">
                  <c:v>1666</c:v>
                </c:pt>
                <c:pt idx="166">
                  <c:v>1624</c:v>
                </c:pt>
                <c:pt idx="167">
                  <c:v>1647</c:v>
                </c:pt>
                <c:pt idx="168">
                  <c:v>1639</c:v>
                </c:pt>
                <c:pt idx="169">
                  <c:v>1660</c:v>
                </c:pt>
                <c:pt idx="170">
                  <c:v>1682</c:v>
                </c:pt>
                <c:pt idx="171">
                  <c:v>1663</c:v>
                </c:pt>
                <c:pt idx="172">
                  <c:v>1624</c:v>
                </c:pt>
                <c:pt idx="173">
                  <c:v>1600</c:v>
                </c:pt>
                <c:pt idx="174">
                  <c:v>1638</c:v>
                </c:pt>
                <c:pt idx="175">
                  <c:v>1656</c:v>
                </c:pt>
                <c:pt idx="176">
                  <c:v>1675</c:v>
                </c:pt>
                <c:pt idx="177">
                  <c:v>1704</c:v>
                </c:pt>
                <c:pt idx="178">
                  <c:v>1689</c:v>
                </c:pt>
                <c:pt idx="179">
                  <c:v>1639</c:v>
                </c:pt>
                <c:pt idx="180">
                  <c:v>1603</c:v>
                </c:pt>
                <c:pt idx="181">
                  <c:v>1635</c:v>
                </c:pt>
                <c:pt idx="182">
                  <c:v>1629</c:v>
                </c:pt>
                <c:pt idx="183">
                  <c:v>1673</c:v>
                </c:pt>
                <c:pt idx="184">
                  <c:v>1709</c:v>
                </c:pt>
                <c:pt idx="185">
                  <c:v>1661</c:v>
                </c:pt>
                <c:pt idx="186">
                  <c:v>1610</c:v>
                </c:pt>
                <c:pt idx="187">
                  <c:v>1582</c:v>
                </c:pt>
                <c:pt idx="188">
                  <c:v>1605</c:v>
                </c:pt>
                <c:pt idx="189">
                  <c:v>1596</c:v>
                </c:pt>
                <c:pt idx="190">
                  <c:v>1617</c:v>
                </c:pt>
                <c:pt idx="191">
                  <c:v>1635</c:v>
                </c:pt>
                <c:pt idx="192">
                  <c:v>1653</c:v>
                </c:pt>
                <c:pt idx="193">
                  <c:v>1664</c:v>
                </c:pt>
                <c:pt idx="194">
                  <c:v>1670</c:v>
                </c:pt>
                <c:pt idx="195">
                  <c:v>1712</c:v>
                </c:pt>
                <c:pt idx="196">
                  <c:v>1677</c:v>
                </c:pt>
                <c:pt idx="197">
                  <c:v>1654</c:v>
                </c:pt>
                <c:pt idx="198">
                  <c:v>1613</c:v>
                </c:pt>
                <c:pt idx="199">
                  <c:v>1598</c:v>
                </c:pt>
                <c:pt idx="200">
                  <c:v>1562</c:v>
                </c:pt>
                <c:pt idx="201">
                  <c:v>1558</c:v>
                </c:pt>
                <c:pt idx="202">
                  <c:v>1590</c:v>
                </c:pt>
                <c:pt idx="203">
                  <c:v>1543</c:v>
                </c:pt>
                <c:pt idx="204">
                  <c:v>1518</c:v>
                </c:pt>
                <c:pt idx="205">
                  <c:v>1493</c:v>
                </c:pt>
                <c:pt idx="206">
                  <c:v>1482</c:v>
                </c:pt>
                <c:pt idx="207">
                  <c:v>1457</c:v>
                </c:pt>
                <c:pt idx="208">
                  <c:v>1451</c:v>
                </c:pt>
                <c:pt idx="209">
                  <c:v>1464</c:v>
                </c:pt>
                <c:pt idx="210">
                  <c:v>1454</c:v>
                </c:pt>
                <c:pt idx="211">
                  <c:v>1423</c:v>
                </c:pt>
                <c:pt idx="212">
                  <c:v>1414</c:v>
                </c:pt>
                <c:pt idx="213">
                  <c:v>1391</c:v>
                </c:pt>
                <c:pt idx="214">
                  <c:v>1375</c:v>
                </c:pt>
                <c:pt idx="215">
                  <c:v>1373</c:v>
                </c:pt>
                <c:pt idx="216">
                  <c:v>1379</c:v>
                </c:pt>
                <c:pt idx="217">
                  <c:v>1363</c:v>
                </c:pt>
                <c:pt idx="218">
                  <c:v>1355</c:v>
                </c:pt>
                <c:pt idx="219">
                  <c:v>1354</c:v>
                </c:pt>
                <c:pt idx="220">
                  <c:v>1348</c:v>
                </c:pt>
                <c:pt idx="221">
                  <c:v>1336</c:v>
                </c:pt>
                <c:pt idx="222">
                  <c:v>1332</c:v>
                </c:pt>
                <c:pt idx="223">
                  <c:v>1338</c:v>
                </c:pt>
                <c:pt idx="224">
                  <c:v>1316</c:v>
                </c:pt>
                <c:pt idx="225">
                  <c:v>1308</c:v>
                </c:pt>
                <c:pt idx="226">
                  <c:v>1303</c:v>
                </c:pt>
                <c:pt idx="227">
                  <c:v>1300</c:v>
                </c:pt>
                <c:pt idx="228">
                  <c:v>1299</c:v>
                </c:pt>
                <c:pt idx="229">
                  <c:v>1296</c:v>
                </c:pt>
                <c:pt idx="230">
                  <c:v>1307</c:v>
                </c:pt>
                <c:pt idx="231">
                  <c:v>1304</c:v>
                </c:pt>
                <c:pt idx="232">
                  <c:v>1282</c:v>
                </c:pt>
                <c:pt idx="233">
                  <c:v>1263</c:v>
                </c:pt>
                <c:pt idx="234">
                  <c:v>1255</c:v>
                </c:pt>
                <c:pt idx="235">
                  <c:v>1248</c:v>
                </c:pt>
                <c:pt idx="236">
                  <c:v>1247</c:v>
                </c:pt>
                <c:pt idx="237">
                  <c:v>1253</c:v>
                </c:pt>
                <c:pt idx="238">
                  <c:v>1251</c:v>
                </c:pt>
                <c:pt idx="239">
                  <c:v>1246</c:v>
                </c:pt>
                <c:pt idx="240">
                  <c:v>1243</c:v>
                </c:pt>
                <c:pt idx="241">
                  <c:v>1240</c:v>
                </c:pt>
                <c:pt idx="242">
                  <c:v>1237</c:v>
                </c:pt>
                <c:pt idx="243">
                  <c:v>1236</c:v>
                </c:pt>
                <c:pt idx="244">
                  <c:v>1239</c:v>
                </c:pt>
                <c:pt idx="245">
                  <c:v>1228</c:v>
                </c:pt>
                <c:pt idx="246">
                  <c:v>1224</c:v>
                </c:pt>
                <c:pt idx="247">
                  <c:v>1225</c:v>
                </c:pt>
                <c:pt idx="248">
                  <c:v>1224</c:v>
                </c:pt>
                <c:pt idx="249">
                  <c:v>1220</c:v>
                </c:pt>
                <c:pt idx="250">
                  <c:v>1217</c:v>
                </c:pt>
                <c:pt idx="251">
                  <c:v>1220</c:v>
                </c:pt>
                <c:pt idx="252">
                  <c:v>1216</c:v>
                </c:pt>
                <c:pt idx="253">
                  <c:v>1212</c:v>
                </c:pt>
                <c:pt idx="254">
                  <c:v>1212</c:v>
                </c:pt>
                <c:pt idx="255">
                  <c:v>1212</c:v>
                </c:pt>
                <c:pt idx="256">
                  <c:v>1208</c:v>
                </c:pt>
                <c:pt idx="257">
                  <c:v>1208</c:v>
                </c:pt>
                <c:pt idx="258">
                  <c:v>1211</c:v>
                </c:pt>
                <c:pt idx="259">
                  <c:v>1213</c:v>
                </c:pt>
                <c:pt idx="260">
                  <c:v>1210</c:v>
                </c:pt>
                <c:pt idx="261">
                  <c:v>1212</c:v>
                </c:pt>
                <c:pt idx="262">
                  <c:v>1212</c:v>
                </c:pt>
                <c:pt idx="263">
                  <c:v>1209</c:v>
                </c:pt>
                <c:pt idx="264">
                  <c:v>1209</c:v>
                </c:pt>
                <c:pt idx="265">
                  <c:v>1211</c:v>
                </c:pt>
                <c:pt idx="266">
                  <c:v>1209</c:v>
                </c:pt>
                <c:pt idx="267">
                  <c:v>1206</c:v>
                </c:pt>
                <c:pt idx="268">
                  <c:v>1206</c:v>
                </c:pt>
                <c:pt idx="269">
                  <c:v>1204</c:v>
                </c:pt>
                <c:pt idx="270">
                  <c:v>1202</c:v>
                </c:pt>
                <c:pt idx="271">
                  <c:v>1202</c:v>
                </c:pt>
                <c:pt idx="272">
                  <c:v>1202</c:v>
                </c:pt>
                <c:pt idx="273">
                  <c:v>1199</c:v>
                </c:pt>
                <c:pt idx="274">
                  <c:v>1196</c:v>
                </c:pt>
                <c:pt idx="275">
                  <c:v>1196</c:v>
                </c:pt>
                <c:pt idx="276">
                  <c:v>1195</c:v>
                </c:pt>
                <c:pt idx="277">
                  <c:v>1195</c:v>
                </c:pt>
                <c:pt idx="278">
                  <c:v>1195</c:v>
                </c:pt>
                <c:pt idx="279">
                  <c:v>1194</c:v>
                </c:pt>
                <c:pt idx="280">
                  <c:v>1192</c:v>
                </c:pt>
                <c:pt idx="281">
                  <c:v>1190</c:v>
                </c:pt>
                <c:pt idx="282">
                  <c:v>1190</c:v>
                </c:pt>
                <c:pt idx="283">
                  <c:v>1190</c:v>
                </c:pt>
                <c:pt idx="284">
                  <c:v>1190</c:v>
                </c:pt>
                <c:pt idx="285">
                  <c:v>1190</c:v>
                </c:pt>
                <c:pt idx="286">
                  <c:v>1190</c:v>
                </c:pt>
                <c:pt idx="287">
                  <c:v>1190</c:v>
                </c:pt>
                <c:pt idx="288">
                  <c:v>1190</c:v>
                </c:pt>
                <c:pt idx="289">
                  <c:v>1189</c:v>
                </c:pt>
                <c:pt idx="290">
                  <c:v>1189</c:v>
                </c:pt>
                <c:pt idx="291">
                  <c:v>1189</c:v>
                </c:pt>
                <c:pt idx="292">
                  <c:v>1189</c:v>
                </c:pt>
                <c:pt idx="293">
                  <c:v>1189</c:v>
                </c:pt>
                <c:pt idx="294">
                  <c:v>1189</c:v>
                </c:pt>
                <c:pt idx="295">
                  <c:v>1189</c:v>
                </c:pt>
                <c:pt idx="296">
                  <c:v>1190</c:v>
                </c:pt>
                <c:pt idx="297">
                  <c:v>1190</c:v>
                </c:pt>
                <c:pt idx="298">
                  <c:v>1190</c:v>
                </c:pt>
                <c:pt idx="299">
                  <c:v>1190</c:v>
                </c:pt>
                <c:pt idx="300">
                  <c:v>1191</c:v>
                </c:pt>
                <c:pt idx="301">
                  <c:v>1191</c:v>
                </c:pt>
                <c:pt idx="302">
                  <c:v>1192</c:v>
                </c:pt>
                <c:pt idx="303">
                  <c:v>1192</c:v>
                </c:pt>
                <c:pt idx="304">
                  <c:v>1192</c:v>
                </c:pt>
                <c:pt idx="305">
                  <c:v>1192</c:v>
                </c:pt>
                <c:pt idx="306">
                  <c:v>1192</c:v>
                </c:pt>
                <c:pt idx="307">
                  <c:v>1192</c:v>
                </c:pt>
                <c:pt idx="308">
                  <c:v>1192</c:v>
                </c:pt>
                <c:pt idx="309">
                  <c:v>1193</c:v>
                </c:pt>
                <c:pt idx="310">
                  <c:v>1194</c:v>
                </c:pt>
                <c:pt idx="311">
                  <c:v>1194</c:v>
                </c:pt>
                <c:pt idx="312">
                  <c:v>1194</c:v>
                </c:pt>
                <c:pt idx="313">
                  <c:v>1195</c:v>
                </c:pt>
                <c:pt idx="314">
                  <c:v>1195</c:v>
                </c:pt>
                <c:pt idx="315">
                  <c:v>1195</c:v>
                </c:pt>
                <c:pt idx="316">
                  <c:v>1195</c:v>
                </c:pt>
                <c:pt idx="317">
                  <c:v>1195</c:v>
                </c:pt>
                <c:pt idx="318">
                  <c:v>1194</c:v>
                </c:pt>
                <c:pt idx="319">
                  <c:v>1194</c:v>
                </c:pt>
                <c:pt idx="320">
                  <c:v>1194</c:v>
                </c:pt>
                <c:pt idx="321">
                  <c:v>1194</c:v>
                </c:pt>
                <c:pt idx="322">
                  <c:v>1194</c:v>
                </c:pt>
                <c:pt idx="323">
                  <c:v>1195</c:v>
                </c:pt>
                <c:pt idx="324">
                  <c:v>1194</c:v>
                </c:pt>
                <c:pt idx="325">
                  <c:v>1194</c:v>
                </c:pt>
                <c:pt idx="326">
                  <c:v>1193</c:v>
                </c:pt>
                <c:pt idx="327">
                  <c:v>1193</c:v>
                </c:pt>
                <c:pt idx="328">
                  <c:v>1192</c:v>
                </c:pt>
                <c:pt idx="329">
                  <c:v>1193</c:v>
                </c:pt>
                <c:pt idx="330">
                  <c:v>1194</c:v>
                </c:pt>
                <c:pt idx="331">
                  <c:v>1194</c:v>
                </c:pt>
                <c:pt idx="332">
                  <c:v>1194</c:v>
                </c:pt>
                <c:pt idx="333">
                  <c:v>1194</c:v>
                </c:pt>
                <c:pt idx="334">
                  <c:v>1194</c:v>
                </c:pt>
                <c:pt idx="335">
                  <c:v>1194</c:v>
                </c:pt>
                <c:pt idx="336">
                  <c:v>1194</c:v>
                </c:pt>
                <c:pt idx="337">
                  <c:v>1194</c:v>
                </c:pt>
                <c:pt idx="338">
                  <c:v>1193</c:v>
                </c:pt>
                <c:pt idx="339">
                  <c:v>1193</c:v>
                </c:pt>
                <c:pt idx="340">
                  <c:v>1193</c:v>
                </c:pt>
                <c:pt idx="341">
                  <c:v>1194</c:v>
                </c:pt>
                <c:pt idx="342">
                  <c:v>1194</c:v>
                </c:pt>
                <c:pt idx="343">
                  <c:v>1193</c:v>
                </c:pt>
                <c:pt idx="344">
                  <c:v>1193</c:v>
                </c:pt>
                <c:pt idx="345">
                  <c:v>1193</c:v>
                </c:pt>
                <c:pt idx="346">
                  <c:v>1193</c:v>
                </c:pt>
                <c:pt idx="347">
                  <c:v>1193</c:v>
                </c:pt>
                <c:pt idx="348">
                  <c:v>1194</c:v>
                </c:pt>
                <c:pt idx="349">
                  <c:v>1194</c:v>
                </c:pt>
                <c:pt idx="350">
                  <c:v>1193</c:v>
                </c:pt>
                <c:pt idx="351">
                  <c:v>1193</c:v>
                </c:pt>
                <c:pt idx="352">
                  <c:v>1193</c:v>
                </c:pt>
                <c:pt idx="353">
                  <c:v>1193</c:v>
                </c:pt>
                <c:pt idx="354">
                  <c:v>1193</c:v>
                </c:pt>
                <c:pt idx="355">
                  <c:v>1193</c:v>
                </c:pt>
                <c:pt idx="356">
                  <c:v>1194</c:v>
                </c:pt>
                <c:pt idx="357">
                  <c:v>1194</c:v>
                </c:pt>
                <c:pt idx="358">
                  <c:v>1194</c:v>
                </c:pt>
                <c:pt idx="359">
                  <c:v>1194</c:v>
                </c:pt>
                <c:pt idx="360">
                  <c:v>1195</c:v>
                </c:pt>
                <c:pt idx="361">
                  <c:v>1195</c:v>
                </c:pt>
                <c:pt idx="362">
                  <c:v>1196</c:v>
                </c:pt>
                <c:pt idx="363">
                  <c:v>1195</c:v>
                </c:pt>
                <c:pt idx="364">
                  <c:v>1195</c:v>
                </c:pt>
                <c:pt idx="365">
                  <c:v>1200</c:v>
                </c:pt>
                <c:pt idx="366">
                  <c:v>1201</c:v>
                </c:pt>
                <c:pt idx="367">
                  <c:v>1202</c:v>
                </c:pt>
                <c:pt idx="368">
                  <c:v>1202</c:v>
                </c:pt>
                <c:pt idx="369">
                  <c:v>1202</c:v>
                </c:pt>
                <c:pt idx="370">
                  <c:v>1203</c:v>
                </c:pt>
                <c:pt idx="371">
                  <c:v>1204</c:v>
                </c:pt>
                <c:pt idx="372">
                  <c:v>1205</c:v>
                </c:pt>
                <c:pt idx="373">
                  <c:v>1206</c:v>
                </c:pt>
                <c:pt idx="374">
                  <c:v>1207</c:v>
                </c:pt>
                <c:pt idx="375">
                  <c:v>1206</c:v>
                </c:pt>
                <c:pt idx="376">
                  <c:v>1205</c:v>
                </c:pt>
                <c:pt idx="377">
                  <c:v>1205</c:v>
                </c:pt>
                <c:pt idx="378">
                  <c:v>1206</c:v>
                </c:pt>
                <c:pt idx="379">
                  <c:v>1205</c:v>
                </c:pt>
                <c:pt idx="380">
                  <c:v>1205</c:v>
                </c:pt>
                <c:pt idx="381">
                  <c:v>1204</c:v>
                </c:pt>
                <c:pt idx="382">
                  <c:v>1202</c:v>
                </c:pt>
                <c:pt idx="383">
                  <c:v>1202</c:v>
                </c:pt>
                <c:pt idx="384">
                  <c:v>1206</c:v>
                </c:pt>
                <c:pt idx="385">
                  <c:v>1209</c:v>
                </c:pt>
                <c:pt idx="386">
                  <c:v>1209</c:v>
                </c:pt>
                <c:pt idx="387">
                  <c:v>1209</c:v>
                </c:pt>
                <c:pt idx="388">
                  <c:v>1209</c:v>
                </c:pt>
                <c:pt idx="389">
                  <c:v>1210</c:v>
                </c:pt>
                <c:pt idx="390">
                  <c:v>1211</c:v>
                </c:pt>
                <c:pt idx="391">
                  <c:v>1214</c:v>
                </c:pt>
                <c:pt idx="392">
                  <c:v>1215</c:v>
                </c:pt>
                <c:pt idx="393">
                  <c:v>1219</c:v>
                </c:pt>
                <c:pt idx="394">
                  <c:v>1219</c:v>
                </c:pt>
                <c:pt idx="395">
                  <c:v>1220</c:v>
                </c:pt>
                <c:pt idx="396">
                  <c:v>1219</c:v>
                </c:pt>
                <c:pt idx="397">
                  <c:v>1218</c:v>
                </c:pt>
                <c:pt idx="398">
                  <c:v>1221</c:v>
                </c:pt>
                <c:pt idx="399">
                  <c:v>1223</c:v>
                </c:pt>
                <c:pt idx="400">
                  <c:v>1223</c:v>
                </c:pt>
                <c:pt idx="401">
                  <c:v>1224</c:v>
                </c:pt>
                <c:pt idx="402">
                  <c:v>1225</c:v>
                </c:pt>
                <c:pt idx="403">
                  <c:v>1226</c:v>
                </c:pt>
                <c:pt idx="404">
                  <c:v>1224</c:v>
                </c:pt>
                <c:pt idx="405">
                  <c:v>1226</c:v>
                </c:pt>
                <c:pt idx="406">
                  <c:v>1223</c:v>
                </c:pt>
                <c:pt idx="407">
                  <c:v>1224</c:v>
                </c:pt>
                <c:pt idx="408">
                  <c:v>1222</c:v>
                </c:pt>
                <c:pt idx="409">
                  <c:v>1229</c:v>
                </c:pt>
                <c:pt idx="410">
                  <c:v>1228</c:v>
                </c:pt>
                <c:pt idx="411">
                  <c:v>1229</c:v>
                </c:pt>
                <c:pt idx="412">
                  <c:v>1241</c:v>
                </c:pt>
                <c:pt idx="413">
                  <c:v>1245</c:v>
                </c:pt>
                <c:pt idx="414">
                  <c:v>1255</c:v>
                </c:pt>
                <c:pt idx="415">
                  <c:v>1257</c:v>
                </c:pt>
                <c:pt idx="416">
                  <c:v>1265</c:v>
                </c:pt>
                <c:pt idx="417">
                  <c:v>1260</c:v>
                </c:pt>
                <c:pt idx="418">
                  <c:v>1264</c:v>
                </c:pt>
                <c:pt idx="419">
                  <c:v>1283</c:v>
                </c:pt>
                <c:pt idx="420">
                  <c:v>1286</c:v>
                </c:pt>
                <c:pt idx="421">
                  <c:v>1301</c:v>
                </c:pt>
                <c:pt idx="422">
                  <c:v>1302</c:v>
                </c:pt>
                <c:pt idx="423">
                  <c:v>1307</c:v>
                </c:pt>
                <c:pt idx="424">
                  <c:v>1307</c:v>
                </c:pt>
                <c:pt idx="425">
                  <c:v>1308</c:v>
                </c:pt>
                <c:pt idx="426">
                  <c:v>1349</c:v>
                </c:pt>
                <c:pt idx="427">
                  <c:v>1360</c:v>
                </c:pt>
                <c:pt idx="428">
                  <c:v>1374</c:v>
                </c:pt>
                <c:pt idx="429">
                  <c:v>1388</c:v>
                </c:pt>
                <c:pt idx="430">
                  <c:v>1406</c:v>
                </c:pt>
                <c:pt idx="431">
                  <c:v>1413</c:v>
                </c:pt>
                <c:pt idx="432">
                  <c:v>1415</c:v>
                </c:pt>
                <c:pt idx="433">
                  <c:v>1466</c:v>
                </c:pt>
                <c:pt idx="434">
                  <c:v>1483</c:v>
                </c:pt>
                <c:pt idx="435">
                  <c:v>1494</c:v>
                </c:pt>
                <c:pt idx="436">
                  <c:v>1522</c:v>
                </c:pt>
                <c:pt idx="437">
                  <c:v>1552</c:v>
                </c:pt>
                <c:pt idx="438">
                  <c:v>1559</c:v>
                </c:pt>
                <c:pt idx="439">
                  <c:v>1565</c:v>
                </c:pt>
                <c:pt idx="440">
                  <c:v>1616</c:v>
                </c:pt>
                <c:pt idx="441">
                  <c:v>1613</c:v>
                </c:pt>
                <c:pt idx="442">
                  <c:v>1597</c:v>
                </c:pt>
                <c:pt idx="443">
                  <c:v>1615</c:v>
                </c:pt>
                <c:pt idx="444">
                  <c:v>1640</c:v>
                </c:pt>
                <c:pt idx="445">
                  <c:v>1628</c:v>
                </c:pt>
                <c:pt idx="446">
                  <c:v>1624</c:v>
                </c:pt>
                <c:pt idx="447">
                  <c:v>1690</c:v>
                </c:pt>
                <c:pt idx="448">
                  <c:v>1691</c:v>
                </c:pt>
                <c:pt idx="449">
                  <c:v>1701</c:v>
                </c:pt>
                <c:pt idx="450">
                  <c:v>1702</c:v>
                </c:pt>
                <c:pt idx="451">
                  <c:v>1711</c:v>
                </c:pt>
                <c:pt idx="452">
                  <c:v>1699</c:v>
                </c:pt>
                <c:pt idx="453">
                  <c:v>1687</c:v>
                </c:pt>
                <c:pt idx="454">
                  <c:v>1722</c:v>
                </c:pt>
                <c:pt idx="455">
                  <c:v>1704</c:v>
                </c:pt>
                <c:pt idx="456">
                  <c:v>1697</c:v>
                </c:pt>
                <c:pt idx="457">
                  <c:v>1713</c:v>
                </c:pt>
                <c:pt idx="458">
                  <c:v>1676</c:v>
                </c:pt>
                <c:pt idx="459">
                  <c:v>1640</c:v>
                </c:pt>
                <c:pt idx="460">
                  <c:v>1631</c:v>
                </c:pt>
                <c:pt idx="461">
                  <c:v>1666</c:v>
                </c:pt>
                <c:pt idx="462">
                  <c:v>1631</c:v>
                </c:pt>
                <c:pt idx="463">
                  <c:v>1607</c:v>
                </c:pt>
                <c:pt idx="464">
                  <c:v>1568</c:v>
                </c:pt>
                <c:pt idx="465">
                  <c:v>1550</c:v>
                </c:pt>
                <c:pt idx="466">
                  <c:v>1514</c:v>
                </c:pt>
                <c:pt idx="467">
                  <c:v>1509</c:v>
                </c:pt>
                <c:pt idx="468">
                  <c:v>1532</c:v>
                </c:pt>
                <c:pt idx="469">
                  <c:v>1502</c:v>
                </c:pt>
                <c:pt idx="470">
                  <c:v>1470</c:v>
                </c:pt>
                <c:pt idx="471">
                  <c:v>1447</c:v>
                </c:pt>
                <c:pt idx="472">
                  <c:v>1424</c:v>
                </c:pt>
                <c:pt idx="473">
                  <c:v>1379</c:v>
                </c:pt>
                <c:pt idx="474">
                  <c:v>1373</c:v>
                </c:pt>
                <c:pt idx="475">
                  <c:v>1388</c:v>
                </c:pt>
                <c:pt idx="476">
                  <c:v>1342</c:v>
                </c:pt>
                <c:pt idx="477">
                  <c:v>1310</c:v>
                </c:pt>
                <c:pt idx="478">
                  <c:v>1275</c:v>
                </c:pt>
                <c:pt idx="479">
                  <c:v>1261</c:v>
                </c:pt>
                <c:pt idx="480">
                  <c:v>1237</c:v>
                </c:pt>
                <c:pt idx="481">
                  <c:v>1228</c:v>
                </c:pt>
                <c:pt idx="482">
                  <c:v>1227</c:v>
                </c:pt>
                <c:pt idx="483">
                  <c:v>1209</c:v>
                </c:pt>
                <c:pt idx="484">
                  <c:v>1179</c:v>
                </c:pt>
                <c:pt idx="485">
                  <c:v>1168</c:v>
                </c:pt>
                <c:pt idx="486">
                  <c:v>1156</c:v>
                </c:pt>
                <c:pt idx="487">
                  <c:v>1136</c:v>
                </c:pt>
                <c:pt idx="488">
                  <c:v>1129</c:v>
                </c:pt>
                <c:pt idx="489">
                  <c:v>1139</c:v>
                </c:pt>
                <c:pt idx="490">
                  <c:v>1125</c:v>
                </c:pt>
                <c:pt idx="491">
                  <c:v>1117</c:v>
                </c:pt>
                <c:pt idx="492">
                  <c:v>1118</c:v>
                </c:pt>
                <c:pt idx="493">
                  <c:v>1121</c:v>
                </c:pt>
                <c:pt idx="494">
                  <c:v>1117</c:v>
                </c:pt>
                <c:pt idx="495">
                  <c:v>1115</c:v>
                </c:pt>
                <c:pt idx="496">
                  <c:v>1131</c:v>
                </c:pt>
                <c:pt idx="497">
                  <c:v>1119</c:v>
                </c:pt>
                <c:pt idx="498">
                  <c:v>1111</c:v>
                </c:pt>
                <c:pt idx="499">
                  <c:v>1106</c:v>
                </c:pt>
                <c:pt idx="500">
                  <c:v>1106</c:v>
                </c:pt>
                <c:pt idx="501">
                  <c:v>1108</c:v>
                </c:pt>
                <c:pt idx="502">
                  <c:v>1118</c:v>
                </c:pt>
                <c:pt idx="503">
                  <c:v>1160</c:v>
                </c:pt>
                <c:pt idx="504">
                  <c:v>1176</c:v>
                </c:pt>
                <c:pt idx="505">
                  <c:v>1209</c:v>
                </c:pt>
                <c:pt idx="506">
                  <c:v>1251</c:v>
                </c:pt>
                <c:pt idx="507">
                  <c:v>1309</c:v>
                </c:pt>
                <c:pt idx="508">
                  <c:v>1302</c:v>
                </c:pt>
                <c:pt idx="509">
                  <c:v>1303</c:v>
                </c:pt>
                <c:pt idx="510">
                  <c:v>1373</c:v>
                </c:pt>
                <c:pt idx="511">
                  <c:v>1440</c:v>
                </c:pt>
                <c:pt idx="512">
                  <c:v>1526</c:v>
                </c:pt>
                <c:pt idx="513">
                  <c:v>1577</c:v>
                </c:pt>
                <c:pt idx="514">
                  <c:v>1593</c:v>
                </c:pt>
                <c:pt idx="515">
                  <c:v>1579</c:v>
                </c:pt>
                <c:pt idx="516">
                  <c:v>1560</c:v>
                </c:pt>
                <c:pt idx="517">
                  <c:v>1619</c:v>
                </c:pt>
                <c:pt idx="518">
                  <c:v>1668</c:v>
                </c:pt>
                <c:pt idx="519">
                  <c:v>1732</c:v>
                </c:pt>
                <c:pt idx="520">
                  <c:v>1772</c:v>
                </c:pt>
                <c:pt idx="521">
                  <c:v>1745</c:v>
                </c:pt>
                <c:pt idx="522">
                  <c:v>1642</c:v>
                </c:pt>
                <c:pt idx="523">
                  <c:v>1552</c:v>
                </c:pt>
                <c:pt idx="524">
                  <c:v>1579</c:v>
                </c:pt>
                <c:pt idx="525">
                  <c:v>1570</c:v>
                </c:pt>
                <c:pt idx="526">
                  <c:v>1597</c:v>
                </c:pt>
                <c:pt idx="527">
                  <c:v>1618</c:v>
                </c:pt>
                <c:pt idx="528">
                  <c:v>1510</c:v>
                </c:pt>
                <c:pt idx="529">
                  <c:v>1396</c:v>
                </c:pt>
                <c:pt idx="530">
                  <c:v>1317</c:v>
                </c:pt>
                <c:pt idx="531">
                  <c:v>1317</c:v>
                </c:pt>
                <c:pt idx="532">
                  <c:v>1295</c:v>
                </c:pt>
                <c:pt idx="533">
                  <c:v>1325</c:v>
                </c:pt>
                <c:pt idx="534">
                  <c:v>1322</c:v>
                </c:pt>
                <c:pt idx="535">
                  <c:v>1169</c:v>
                </c:pt>
                <c:pt idx="536">
                  <c:v>1076</c:v>
                </c:pt>
                <c:pt idx="537">
                  <c:v>986</c:v>
                </c:pt>
                <c:pt idx="538">
                  <c:v>974</c:v>
                </c:pt>
                <c:pt idx="539">
                  <c:v>930</c:v>
                </c:pt>
                <c:pt idx="540">
                  <c:v>934</c:v>
                </c:pt>
                <c:pt idx="541">
                  <c:v>940</c:v>
                </c:pt>
                <c:pt idx="542">
                  <c:v>825</c:v>
                </c:pt>
                <c:pt idx="543">
                  <c:v>742</c:v>
                </c:pt>
                <c:pt idx="544">
                  <c:v>679</c:v>
                </c:pt>
                <c:pt idx="545">
                  <c:v>668</c:v>
                </c:pt>
                <c:pt idx="546">
                  <c:v>639</c:v>
                </c:pt>
                <c:pt idx="547">
                  <c:v>641</c:v>
                </c:pt>
                <c:pt idx="548">
                  <c:v>644</c:v>
                </c:pt>
                <c:pt idx="549">
                  <c:v>568</c:v>
                </c:pt>
                <c:pt idx="550">
                  <c:v>527</c:v>
                </c:pt>
                <c:pt idx="551">
                  <c:v>482</c:v>
                </c:pt>
                <c:pt idx="552">
                  <c:v>488</c:v>
                </c:pt>
                <c:pt idx="553">
                  <c:v>481</c:v>
                </c:pt>
                <c:pt idx="554">
                  <c:v>497</c:v>
                </c:pt>
                <c:pt idx="555">
                  <c:v>483</c:v>
                </c:pt>
                <c:pt idx="556">
                  <c:v>458</c:v>
                </c:pt>
                <c:pt idx="557">
                  <c:v>433</c:v>
                </c:pt>
                <c:pt idx="558">
                  <c:v>407</c:v>
                </c:pt>
                <c:pt idx="559">
                  <c:v>416</c:v>
                </c:pt>
                <c:pt idx="560">
                  <c:v>423</c:v>
                </c:pt>
                <c:pt idx="561">
                  <c:v>422</c:v>
                </c:pt>
                <c:pt idx="562">
                  <c:v>427</c:v>
                </c:pt>
                <c:pt idx="563">
                  <c:v>398</c:v>
                </c:pt>
                <c:pt idx="564">
                  <c:v>362</c:v>
                </c:pt>
                <c:pt idx="565">
                  <c:v>334</c:v>
                </c:pt>
                <c:pt idx="566">
                  <c:v>349</c:v>
                </c:pt>
                <c:pt idx="567">
                  <c:v>343</c:v>
                </c:pt>
                <c:pt idx="568">
                  <c:v>357</c:v>
                </c:pt>
                <c:pt idx="569">
                  <c:v>368</c:v>
                </c:pt>
                <c:pt idx="570">
                  <c:v>331</c:v>
                </c:pt>
                <c:pt idx="571">
                  <c:v>290</c:v>
                </c:pt>
                <c:pt idx="572">
                  <c:v>259</c:v>
                </c:pt>
                <c:pt idx="573">
                  <c:v>259</c:v>
                </c:pt>
                <c:pt idx="574">
                  <c:v>272</c:v>
                </c:pt>
                <c:pt idx="575">
                  <c:v>288</c:v>
                </c:pt>
                <c:pt idx="576">
                  <c:v>288</c:v>
                </c:pt>
                <c:pt idx="577">
                  <c:v>220</c:v>
                </c:pt>
                <c:pt idx="578">
                  <c:v>220</c:v>
                </c:pt>
                <c:pt idx="579">
                  <c:v>220</c:v>
                </c:pt>
                <c:pt idx="580">
                  <c:v>220</c:v>
                </c:pt>
                <c:pt idx="581">
                  <c:v>220</c:v>
                </c:pt>
                <c:pt idx="582">
                  <c:v>220</c:v>
                </c:pt>
                <c:pt idx="583">
                  <c:v>220</c:v>
                </c:pt>
                <c:pt idx="584">
                  <c:v>2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List1!$D$2:$D$586</c:f>
              <c:numCache>
                <c:formatCode>General</c:formatCode>
                <c:ptCount val="585"/>
                <c:pt idx="0">
                  <c:v>9</c:v>
                </c:pt>
                <c:pt idx="1">
                  <c:v>7</c:v>
                </c:pt>
                <c:pt idx="2">
                  <c:v>7</c:v>
                </c:pt>
                <c:pt idx="3">
                  <c:v>11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1</c:v>
                </c:pt>
                <c:pt idx="9">
                  <c:v>11</c:v>
                </c:pt>
                <c:pt idx="10">
                  <c:v>10</c:v>
                </c:pt>
                <c:pt idx="11">
                  <c:v>14</c:v>
                </c:pt>
                <c:pt idx="12">
                  <c:v>5</c:v>
                </c:pt>
                <c:pt idx="13">
                  <c:v>16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11</c:v>
                </c:pt>
                <c:pt idx="18">
                  <c:v>11</c:v>
                </c:pt>
                <c:pt idx="19">
                  <c:v>16</c:v>
                </c:pt>
                <c:pt idx="20">
                  <c:v>15</c:v>
                </c:pt>
                <c:pt idx="21">
                  <c:v>18</c:v>
                </c:pt>
                <c:pt idx="22">
                  <c:v>15</c:v>
                </c:pt>
                <c:pt idx="23">
                  <c:v>22</c:v>
                </c:pt>
                <c:pt idx="24">
                  <c:v>31</c:v>
                </c:pt>
                <c:pt idx="25">
                  <c:v>40</c:v>
                </c:pt>
                <c:pt idx="26">
                  <c:v>43</c:v>
                </c:pt>
                <c:pt idx="27">
                  <c:v>46</c:v>
                </c:pt>
                <c:pt idx="28">
                  <c:v>71</c:v>
                </c:pt>
                <c:pt idx="29">
                  <c:v>99</c:v>
                </c:pt>
                <c:pt idx="30">
                  <c:v>156</c:v>
                </c:pt>
                <c:pt idx="31">
                  <c:v>304</c:v>
                </c:pt>
                <c:pt idx="32">
                  <c:v>362</c:v>
                </c:pt>
                <c:pt idx="33">
                  <c:v>431</c:v>
                </c:pt>
                <c:pt idx="34">
                  <c:v>684</c:v>
                </c:pt>
                <c:pt idx="35">
                  <c:v>795</c:v>
                </c:pt>
                <c:pt idx="36">
                  <c:v>860</c:v>
                </c:pt>
                <c:pt idx="37">
                  <c:v>1013</c:v>
                </c:pt>
                <c:pt idx="38">
                  <c:v>1232</c:v>
                </c:pt>
                <c:pt idx="39">
                  <c:v>1288</c:v>
                </c:pt>
                <c:pt idx="40">
                  <c:v>1272</c:v>
                </c:pt>
                <c:pt idx="41">
                  <c:v>1527</c:v>
                </c:pt>
                <c:pt idx="42">
                  <c:v>1828</c:v>
                </c:pt>
                <c:pt idx="43">
                  <c:v>2132</c:v>
                </c:pt>
                <c:pt idx="44">
                  <c:v>2491</c:v>
                </c:pt>
                <c:pt idx="45">
                  <c:v>2790</c:v>
                </c:pt>
                <c:pt idx="46">
                  <c:v>2936</c:v>
                </c:pt>
                <c:pt idx="47">
                  <c:v>2884</c:v>
                </c:pt>
                <c:pt idx="48">
                  <c:v>3210</c:v>
                </c:pt>
                <c:pt idx="49">
                  <c:v>3473</c:v>
                </c:pt>
                <c:pt idx="50">
                  <c:v>3987</c:v>
                </c:pt>
                <c:pt idx="51">
                  <c:v>4319</c:v>
                </c:pt>
                <c:pt idx="52">
                  <c:v>4887</c:v>
                </c:pt>
                <c:pt idx="53">
                  <c:v>5040</c:v>
                </c:pt>
                <c:pt idx="54">
                  <c:v>5055</c:v>
                </c:pt>
                <c:pt idx="55">
                  <c:v>5415</c:v>
                </c:pt>
                <c:pt idx="56">
                  <c:v>5953</c:v>
                </c:pt>
                <c:pt idx="57">
                  <c:v>5997</c:v>
                </c:pt>
                <c:pt idx="58">
                  <c:v>6860</c:v>
                </c:pt>
                <c:pt idx="59">
                  <c:v>7301</c:v>
                </c:pt>
                <c:pt idx="60">
                  <c:v>7304</c:v>
                </c:pt>
                <c:pt idx="61">
                  <c:v>7044</c:v>
                </c:pt>
                <c:pt idx="62">
                  <c:v>7145</c:v>
                </c:pt>
                <c:pt idx="63">
                  <c:v>7023</c:v>
                </c:pt>
                <c:pt idx="64">
                  <c:v>7435</c:v>
                </c:pt>
                <c:pt idx="65">
                  <c:v>7957</c:v>
                </c:pt>
                <c:pt idx="66">
                  <c:v>7643</c:v>
                </c:pt>
                <c:pt idx="67">
                  <c:v>7046</c:v>
                </c:pt>
                <c:pt idx="68">
                  <c:v>6869</c:v>
                </c:pt>
                <c:pt idx="69">
                  <c:v>6482</c:v>
                </c:pt>
                <c:pt idx="70">
                  <c:v>6224</c:v>
                </c:pt>
                <c:pt idx="71">
                  <c:v>6783</c:v>
                </c:pt>
                <c:pt idx="72">
                  <c:v>7305</c:v>
                </c:pt>
                <c:pt idx="73">
                  <c:v>7260</c:v>
                </c:pt>
                <c:pt idx="74">
                  <c:v>6724</c:v>
                </c:pt>
                <c:pt idx="75">
                  <c:v>6371</c:v>
                </c:pt>
                <c:pt idx="76">
                  <c:v>6368</c:v>
                </c:pt>
                <c:pt idx="77">
                  <c:v>5996</c:v>
                </c:pt>
                <c:pt idx="78">
                  <c:v>6295</c:v>
                </c:pt>
                <c:pt idx="79">
                  <c:v>6530</c:v>
                </c:pt>
                <c:pt idx="80">
                  <c:v>6542</c:v>
                </c:pt>
                <c:pt idx="81">
                  <c:v>5905</c:v>
                </c:pt>
                <c:pt idx="82">
                  <c:v>5448</c:v>
                </c:pt>
                <c:pt idx="83">
                  <c:v>5567</c:v>
                </c:pt>
                <c:pt idx="84">
                  <c:v>5221</c:v>
                </c:pt>
                <c:pt idx="85">
                  <c:v>5245</c:v>
                </c:pt>
                <c:pt idx="86">
                  <c:v>5367</c:v>
                </c:pt>
                <c:pt idx="87">
                  <c:v>5086</c:v>
                </c:pt>
                <c:pt idx="88">
                  <c:v>5016</c:v>
                </c:pt>
                <c:pt idx="89">
                  <c:v>4614</c:v>
                </c:pt>
                <c:pt idx="90">
                  <c:v>4501</c:v>
                </c:pt>
                <c:pt idx="91">
                  <c:v>4313</c:v>
                </c:pt>
                <c:pt idx="92">
                  <c:v>4402</c:v>
                </c:pt>
                <c:pt idx="93">
                  <c:v>4508</c:v>
                </c:pt>
                <c:pt idx="94">
                  <c:v>4336</c:v>
                </c:pt>
                <c:pt idx="95">
                  <c:v>4103</c:v>
                </c:pt>
                <c:pt idx="96">
                  <c:v>3881</c:v>
                </c:pt>
                <c:pt idx="97">
                  <c:v>3897</c:v>
                </c:pt>
                <c:pt idx="98">
                  <c:v>3744</c:v>
                </c:pt>
                <c:pt idx="99">
                  <c:v>3838</c:v>
                </c:pt>
                <c:pt idx="100">
                  <c:v>3939</c:v>
                </c:pt>
                <c:pt idx="101">
                  <c:v>3917</c:v>
                </c:pt>
                <c:pt idx="102">
                  <c:v>3748</c:v>
                </c:pt>
                <c:pt idx="103">
                  <c:v>3663</c:v>
                </c:pt>
                <c:pt idx="104">
                  <c:v>3721</c:v>
                </c:pt>
                <c:pt idx="105">
                  <c:v>3707</c:v>
                </c:pt>
                <c:pt idx="106">
                  <c:v>3779</c:v>
                </c:pt>
                <c:pt idx="107">
                  <c:v>3823</c:v>
                </c:pt>
                <c:pt idx="108">
                  <c:v>3830</c:v>
                </c:pt>
                <c:pt idx="109">
                  <c:v>3651</c:v>
                </c:pt>
                <c:pt idx="110">
                  <c:v>3537</c:v>
                </c:pt>
                <c:pt idx="111">
                  <c:v>3697</c:v>
                </c:pt>
                <c:pt idx="112">
                  <c:v>3764</c:v>
                </c:pt>
                <c:pt idx="113">
                  <c:v>3886</c:v>
                </c:pt>
                <c:pt idx="114">
                  <c:v>3873</c:v>
                </c:pt>
                <c:pt idx="115">
                  <c:v>3722</c:v>
                </c:pt>
                <c:pt idx="116">
                  <c:v>3657</c:v>
                </c:pt>
                <c:pt idx="117">
                  <c:v>3624</c:v>
                </c:pt>
                <c:pt idx="118">
                  <c:v>3786</c:v>
                </c:pt>
                <c:pt idx="119">
                  <c:v>3919</c:v>
                </c:pt>
                <c:pt idx="120">
                  <c:v>4100</c:v>
                </c:pt>
                <c:pt idx="121">
                  <c:v>4262</c:v>
                </c:pt>
                <c:pt idx="122">
                  <c:v>4037</c:v>
                </c:pt>
                <c:pt idx="123">
                  <c:v>3939</c:v>
                </c:pt>
                <c:pt idx="124">
                  <c:v>3707</c:v>
                </c:pt>
                <c:pt idx="125">
                  <c:v>4239</c:v>
                </c:pt>
                <c:pt idx="126">
                  <c:v>4459</c:v>
                </c:pt>
                <c:pt idx="127">
                  <c:v>4634</c:v>
                </c:pt>
                <c:pt idx="128">
                  <c:v>4852</c:v>
                </c:pt>
                <c:pt idx="129">
                  <c:v>4771</c:v>
                </c:pt>
                <c:pt idx="130">
                  <c:v>4540</c:v>
                </c:pt>
                <c:pt idx="131">
                  <c:v>4277</c:v>
                </c:pt>
                <c:pt idx="132">
                  <c:v>4592</c:v>
                </c:pt>
                <c:pt idx="133">
                  <c:v>4745</c:v>
                </c:pt>
                <c:pt idx="134">
                  <c:v>4925</c:v>
                </c:pt>
                <c:pt idx="135">
                  <c:v>4983</c:v>
                </c:pt>
                <c:pt idx="136">
                  <c:v>4766</c:v>
                </c:pt>
                <c:pt idx="137">
                  <c:v>4427</c:v>
                </c:pt>
                <c:pt idx="138">
                  <c:v>4165</c:v>
                </c:pt>
                <c:pt idx="139">
                  <c:v>4117</c:v>
                </c:pt>
                <c:pt idx="140">
                  <c:v>3955</c:v>
                </c:pt>
                <c:pt idx="141">
                  <c:v>4072</c:v>
                </c:pt>
                <c:pt idx="142">
                  <c:v>4183</c:v>
                </c:pt>
                <c:pt idx="143">
                  <c:v>3963</c:v>
                </c:pt>
                <c:pt idx="144">
                  <c:v>3818</c:v>
                </c:pt>
                <c:pt idx="145">
                  <c:v>3610</c:v>
                </c:pt>
                <c:pt idx="146">
                  <c:v>3587</c:v>
                </c:pt>
                <c:pt idx="147">
                  <c:v>3538</c:v>
                </c:pt>
                <c:pt idx="148">
                  <c:v>3617</c:v>
                </c:pt>
                <c:pt idx="149">
                  <c:v>3669</c:v>
                </c:pt>
                <c:pt idx="150">
                  <c:v>3451</c:v>
                </c:pt>
                <c:pt idx="151">
                  <c:v>3340</c:v>
                </c:pt>
                <c:pt idx="152">
                  <c:v>3131</c:v>
                </c:pt>
                <c:pt idx="153">
                  <c:v>3183</c:v>
                </c:pt>
                <c:pt idx="154">
                  <c:v>3208</c:v>
                </c:pt>
                <c:pt idx="155">
                  <c:v>3304</c:v>
                </c:pt>
                <c:pt idx="156">
                  <c:v>3362</c:v>
                </c:pt>
                <c:pt idx="157">
                  <c:v>3281</c:v>
                </c:pt>
                <c:pt idx="158">
                  <c:v>3151</c:v>
                </c:pt>
                <c:pt idx="159">
                  <c:v>3054</c:v>
                </c:pt>
                <c:pt idx="160">
                  <c:v>3096</c:v>
                </c:pt>
                <c:pt idx="161">
                  <c:v>3060</c:v>
                </c:pt>
                <c:pt idx="162">
                  <c:v>3118</c:v>
                </c:pt>
                <c:pt idx="163">
                  <c:v>3198</c:v>
                </c:pt>
                <c:pt idx="164">
                  <c:v>3121</c:v>
                </c:pt>
                <c:pt idx="165">
                  <c:v>2942</c:v>
                </c:pt>
                <c:pt idx="166">
                  <c:v>2809</c:v>
                </c:pt>
                <c:pt idx="167">
                  <c:v>2811</c:v>
                </c:pt>
                <c:pt idx="168">
                  <c:v>2719</c:v>
                </c:pt>
                <c:pt idx="169">
                  <c:v>2718</c:v>
                </c:pt>
                <c:pt idx="170">
                  <c:v>2758</c:v>
                </c:pt>
                <c:pt idx="171">
                  <c:v>2679</c:v>
                </c:pt>
                <c:pt idx="172">
                  <c:v>2579</c:v>
                </c:pt>
                <c:pt idx="173">
                  <c:v>2485</c:v>
                </c:pt>
                <c:pt idx="174">
                  <c:v>2567</c:v>
                </c:pt>
                <c:pt idx="175">
                  <c:v>2559</c:v>
                </c:pt>
                <c:pt idx="176">
                  <c:v>2589</c:v>
                </c:pt>
                <c:pt idx="177">
                  <c:v>2647</c:v>
                </c:pt>
                <c:pt idx="178">
                  <c:v>2623</c:v>
                </c:pt>
                <c:pt idx="179">
                  <c:v>2541</c:v>
                </c:pt>
                <c:pt idx="180">
                  <c:v>2484</c:v>
                </c:pt>
                <c:pt idx="181">
                  <c:v>2565</c:v>
                </c:pt>
                <c:pt idx="182">
                  <c:v>2526</c:v>
                </c:pt>
                <c:pt idx="183">
                  <c:v>2576</c:v>
                </c:pt>
                <c:pt idx="184">
                  <c:v>2608</c:v>
                </c:pt>
                <c:pt idx="185">
                  <c:v>2495</c:v>
                </c:pt>
                <c:pt idx="186">
                  <c:v>2415</c:v>
                </c:pt>
                <c:pt idx="187">
                  <c:v>2344</c:v>
                </c:pt>
                <c:pt idx="188">
                  <c:v>2362</c:v>
                </c:pt>
                <c:pt idx="189">
                  <c:v>2412</c:v>
                </c:pt>
                <c:pt idx="190">
                  <c:v>2497</c:v>
                </c:pt>
                <c:pt idx="191">
                  <c:v>2517</c:v>
                </c:pt>
                <c:pt idx="192">
                  <c:v>2562</c:v>
                </c:pt>
                <c:pt idx="193">
                  <c:v>2570</c:v>
                </c:pt>
                <c:pt idx="194">
                  <c:v>2577</c:v>
                </c:pt>
                <c:pt idx="195">
                  <c:v>2649</c:v>
                </c:pt>
                <c:pt idx="196">
                  <c:v>2551</c:v>
                </c:pt>
                <c:pt idx="197">
                  <c:v>2510</c:v>
                </c:pt>
                <c:pt idx="198">
                  <c:v>2454</c:v>
                </c:pt>
                <c:pt idx="199">
                  <c:v>2440</c:v>
                </c:pt>
                <c:pt idx="200">
                  <c:v>2385</c:v>
                </c:pt>
                <c:pt idx="201">
                  <c:v>2380</c:v>
                </c:pt>
                <c:pt idx="202">
                  <c:v>2416</c:v>
                </c:pt>
                <c:pt idx="203">
                  <c:v>2373</c:v>
                </c:pt>
                <c:pt idx="204">
                  <c:v>2315</c:v>
                </c:pt>
                <c:pt idx="205">
                  <c:v>2284</c:v>
                </c:pt>
                <c:pt idx="206">
                  <c:v>2257</c:v>
                </c:pt>
                <c:pt idx="207">
                  <c:v>2196</c:v>
                </c:pt>
                <c:pt idx="208">
                  <c:v>2189</c:v>
                </c:pt>
                <c:pt idx="209">
                  <c:v>2215</c:v>
                </c:pt>
                <c:pt idx="210">
                  <c:v>2175</c:v>
                </c:pt>
                <c:pt idx="211">
                  <c:v>2137</c:v>
                </c:pt>
                <c:pt idx="212">
                  <c:v>2113</c:v>
                </c:pt>
                <c:pt idx="213">
                  <c:v>2061</c:v>
                </c:pt>
                <c:pt idx="214">
                  <c:v>2035</c:v>
                </c:pt>
                <c:pt idx="215">
                  <c:v>2031</c:v>
                </c:pt>
                <c:pt idx="216">
                  <c:v>2035</c:v>
                </c:pt>
                <c:pt idx="217">
                  <c:v>1990</c:v>
                </c:pt>
                <c:pt idx="218">
                  <c:v>1979</c:v>
                </c:pt>
                <c:pt idx="219">
                  <c:v>1963</c:v>
                </c:pt>
                <c:pt idx="220">
                  <c:v>1927</c:v>
                </c:pt>
                <c:pt idx="221">
                  <c:v>1910</c:v>
                </c:pt>
                <c:pt idx="222">
                  <c:v>1905</c:v>
                </c:pt>
                <c:pt idx="223">
                  <c:v>1912</c:v>
                </c:pt>
                <c:pt idx="224">
                  <c:v>1880</c:v>
                </c:pt>
                <c:pt idx="225">
                  <c:v>1851</c:v>
                </c:pt>
                <c:pt idx="226">
                  <c:v>1834</c:v>
                </c:pt>
                <c:pt idx="227">
                  <c:v>1816</c:v>
                </c:pt>
                <c:pt idx="228">
                  <c:v>1812</c:v>
                </c:pt>
                <c:pt idx="229">
                  <c:v>1811</c:v>
                </c:pt>
                <c:pt idx="230">
                  <c:v>1828</c:v>
                </c:pt>
                <c:pt idx="231">
                  <c:v>1819</c:v>
                </c:pt>
                <c:pt idx="232">
                  <c:v>1789</c:v>
                </c:pt>
                <c:pt idx="233">
                  <c:v>1779</c:v>
                </c:pt>
                <c:pt idx="234">
                  <c:v>1775</c:v>
                </c:pt>
                <c:pt idx="235">
                  <c:v>1760</c:v>
                </c:pt>
                <c:pt idx="236">
                  <c:v>1758</c:v>
                </c:pt>
                <c:pt idx="237">
                  <c:v>1765</c:v>
                </c:pt>
                <c:pt idx="238">
                  <c:v>1762</c:v>
                </c:pt>
                <c:pt idx="239">
                  <c:v>1755</c:v>
                </c:pt>
                <c:pt idx="240">
                  <c:v>1751</c:v>
                </c:pt>
                <c:pt idx="241">
                  <c:v>1748</c:v>
                </c:pt>
                <c:pt idx="242">
                  <c:v>1739</c:v>
                </c:pt>
                <c:pt idx="243">
                  <c:v>1738</c:v>
                </c:pt>
                <c:pt idx="244">
                  <c:v>1743</c:v>
                </c:pt>
                <c:pt idx="245">
                  <c:v>1727</c:v>
                </c:pt>
                <c:pt idx="246">
                  <c:v>1720</c:v>
                </c:pt>
                <c:pt idx="247">
                  <c:v>1715</c:v>
                </c:pt>
                <c:pt idx="248">
                  <c:v>1713</c:v>
                </c:pt>
                <c:pt idx="249">
                  <c:v>1702</c:v>
                </c:pt>
                <c:pt idx="250">
                  <c:v>1702</c:v>
                </c:pt>
                <c:pt idx="251">
                  <c:v>1709</c:v>
                </c:pt>
                <c:pt idx="252">
                  <c:v>1705</c:v>
                </c:pt>
                <c:pt idx="253">
                  <c:v>1698</c:v>
                </c:pt>
                <c:pt idx="254">
                  <c:v>1698</c:v>
                </c:pt>
                <c:pt idx="255">
                  <c:v>1698</c:v>
                </c:pt>
                <c:pt idx="256">
                  <c:v>1690</c:v>
                </c:pt>
                <c:pt idx="257">
                  <c:v>1689</c:v>
                </c:pt>
                <c:pt idx="258">
                  <c:v>1694</c:v>
                </c:pt>
                <c:pt idx="259">
                  <c:v>1692</c:v>
                </c:pt>
                <c:pt idx="260">
                  <c:v>1691</c:v>
                </c:pt>
                <c:pt idx="261">
                  <c:v>1690</c:v>
                </c:pt>
                <c:pt idx="262">
                  <c:v>1689</c:v>
                </c:pt>
                <c:pt idx="263">
                  <c:v>1685</c:v>
                </c:pt>
                <c:pt idx="264">
                  <c:v>1684</c:v>
                </c:pt>
                <c:pt idx="265">
                  <c:v>1687</c:v>
                </c:pt>
                <c:pt idx="266">
                  <c:v>1684</c:v>
                </c:pt>
                <c:pt idx="267">
                  <c:v>1680</c:v>
                </c:pt>
                <c:pt idx="268">
                  <c:v>1678</c:v>
                </c:pt>
                <c:pt idx="269">
                  <c:v>1675</c:v>
                </c:pt>
                <c:pt idx="270">
                  <c:v>1673</c:v>
                </c:pt>
                <c:pt idx="271">
                  <c:v>1670</c:v>
                </c:pt>
                <c:pt idx="272">
                  <c:v>1670</c:v>
                </c:pt>
                <c:pt idx="273">
                  <c:v>1665</c:v>
                </c:pt>
                <c:pt idx="274">
                  <c:v>1665</c:v>
                </c:pt>
                <c:pt idx="275">
                  <c:v>1661</c:v>
                </c:pt>
                <c:pt idx="276">
                  <c:v>1656</c:v>
                </c:pt>
                <c:pt idx="277">
                  <c:v>1655</c:v>
                </c:pt>
                <c:pt idx="278">
                  <c:v>1655</c:v>
                </c:pt>
                <c:pt idx="279">
                  <c:v>1656</c:v>
                </c:pt>
                <c:pt idx="280">
                  <c:v>1653</c:v>
                </c:pt>
                <c:pt idx="281">
                  <c:v>1650</c:v>
                </c:pt>
                <c:pt idx="282">
                  <c:v>1649</c:v>
                </c:pt>
                <c:pt idx="283">
                  <c:v>1650</c:v>
                </c:pt>
                <c:pt idx="284">
                  <c:v>1648</c:v>
                </c:pt>
                <c:pt idx="285">
                  <c:v>1647</c:v>
                </c:pt>
                <c:pt idx="286">
                  <c:v>1647</c:v>
                </c:pt>
                <c:pt idx="287">
                  <c:v>1647</c:v>
                </c:pt>
                <c:pt idx="288">
                  <c:v>1647</c:v>
                </c:pt>
                <c:pt idx="289">
                  <c:v>1646</c:v>
                </c:pt>
                <c:pt idx="290">
                  <c:v>1646</c:v>
                </c:pt>
                <c:pt idx="291">
                  <c:v>1646</c:v>
                </c:pt>
                <c:pt idx="292">
                  <c:v>1646</c:v>
                </c:pt>
                <c:pt idx="293">
                  <c:v>1646</c:v>
                </c:pt>
                <c:pt idx="294">
                  <c:v>1646</c:v>
                </c:pt>
                <c:pt idx="295">
                  <c:v>1647</c:v>
                </c:pt>
                <c:pt idx="296">
                  <c:v>1648</c:v>
                </c:pt>
                <c:pt idx="297">
                  <c:v>1647</c:v>
                </c:pt>
                <c:pt idx="298">
                  <c:v>1647</c:v>
                </c:pt>
                <c:pt idx="299">
                  <c:v>1647</c:v>
                </c:pt>
                <c:pt idx="300">
                  <c:v>1648</c:v>
                </c:pt>
                <c:pt idx="301">
                  <c:v>1648</c:v>
                </c:pt>
                <c:pt idx="302">
                  <c:v>1648</c:v>
                </c:pt>
                <c:pt idx="303">
                  <c:v>1649</c:v>
                </c:pt>
                <c:pt idx="304">
                  <c:v>1647</c:v>
                </c:pt>
                <c:pt idx="305">
                  <c:v>1647</c:v>
                </c:pt>
                <c:pt idx="306">
                  <c:v>1648</c:v>
                </c:pt>
                <c:pt idx="307">
                  <c:v>1648</c:v>
                </c:pt>
                <c:pt idx="308">
                  <c:v>1649</c:v>
                </c:pt>
                <c:pt idx="309">
                  <c:v>1650</c:v>
                </c:pt>
                <c:pt idx="310">
                  <c:v>1650</c:v>
                </c:pt>
                <c:pt idx="311">
                  <c:v>1650</c:v>
                </c:pt>
                <c:pt idx="312">
                  <c:v>1650</c:v>
                </c:pt>
                <c:pt idx="313">
                  <c:v>1651</c:v>
                </c:pt>
                <c:pt idx="314">
                  <c:v>1651</c:v>
                </c:pt>
                <c:pt idx="315">
                  <c:v>1651</c:v>
                </c:pt>
                <c:pt idx="316">
                  <c:v>1651</c:v>
                </c:pt>
                <c:pt idx="317">
                  <c:v>1651</c:v>
                </c:pt>
                <c:pt idx="318">
                  <c:v>1650</c:v>
                </c:pt>
                <c:pt idx="319">
                  <c:v>1650</c:v>
                </c:pt>
                <c:pt idx="320">
                  <c:v>1650</c:v>
                </c:pt>
                <c:pt idx="321">
                  <c:v>1650</c:v>
                </c:pt>
                <c:pt idx="322">
                  <c:v>1649</c:v>
                </c:pt>
                <c:pt idx="323">
                  <c:v>1650</c:v>
                </c:pt>
                <c:pt idx="324">
                  <c:v>1649</c:v>
                </c:pt>
                <c:pt idx="325">
                  <c:v>1649</c:v>
                </c:pt>
                <c:pt idx="326">
                  <c:v>1649</c:v>
                </c:pt>
                <c:pt idx="327">
                  <c:v>1648</c:v>
                </c:pt>
                <c:pt idx="328">
                  <c:v>1647</c:v>
                </c:pt>
                <c:pt idx="329">
                  <c:v>1648</c:v>
                </c:pt>
                <c:pt idx="330">
                  <c:v>1649</c:v>
                </c:pt>
                <c:pt idx="331">
                  <c:v>1649</c:v>
                </c:pt>
                <c:pt idx="332">
                  <c:v>1649</c:v>
                </c:pt>
                <c:pt idx="333">
                  <c:v>1649</c:v>
                </c:pt>
                <c:pt idx="334">
                  <c:v>1649</c:v>
                </c:pt>
                <c:pt idx="335">
                  <c:v>1649</c:v>
                </c:pt>
                <c:pt idx="336">
                  <c:v>1648</c:v>
                </c:pt>
                <c:pt idx="337">
                  <c:v>1648</c:v>
                </c:pt>
                <c:pt idx="338">
                  <c:v>1647</c:v>
                </c:pt>
                <c:pt idx="339">
                  <c:v>1647</c:v>
                </c:pt>
                <c:pt idx="340">
                  <c:v>1647</c:v>
                </c:pt>
                <c:pt idx="341">
                  <c:v>1648</c:v>
                </c:pt>
                <c:pt idx="342">
                  <c:v>1648</c:v>
                </c:pt>
                <c:pt idx="343">
                  <c:v>1647</c:v>
                </c:pt>
                <c:pt idx="344">
                  <c:v>1647</c:v>
                </c:pt>
                <c:pt idx="345">
                  <c:v>1647</c:v>
                </c:pt>
                <c:pt idx="346">
                  <c:v>1647</c:v>
                </c:pt>
                <c:pt idx="347">
                  <c:v>1647</c:v>
                </c:pt>
                <c:pt idx="348">
                  <c:v>1648</c:v>
                </c:pt>
                <c:pt idx="349">
                  <c:v>1649</c:v>
                </c:pt>
                <c:pt idx="350">
                  <c:v>1649</c:v>
                </c:pt>
                <c:pt idx="351">
                  <c:v>1649</c:v>
                </c:pt>
                <c:pt idx="352">
                  <c:v>1650</c:v>
                </c:pt>
                <c:pt idx="353">
                  <c:v>1649</c:v>
                </c:pt>
                <c:pt idx="354">
                  <c:v>1649</c:v>
                </c:pt>
                <c:pt idx="355">
                  <c:v>1649</c:v>
                </c:pt>
                <c:pt idx="356">
                  <c:v>1652</c:v>
                </c:pt>
                <c:pt idx="357">
                  <c:v>1652</c:v>
                </c:pt>
                <c:pt idx="358">
                  <c:v>1652</c:v>
                </c:pt>
                <c:pt idx="359">
                  <c:v>1652</c:v>
                </c:pt>
                <c:pt idx="360">
                  <c:v>1653</c:v>
                </c:pt>
                <c:pt idx="361">
                  <c:v>1652</c:v>
                </c:pt>
                <c:pt idx="362">
                  <c:v>1653</c:v>
                </c:pt>
                <c:pt idx="363">
                  <c:v>1652</c:v>
                </c:pt>
                <c:pt idx="364">
                  <c:v>1652</c:v>
                </c:pt>
                <c:pt idx="365">
                  <c:v>1659</c:v>
                </c:pt>
                <c:pt idx="366">
                  <c:v>1664</c:v>
                </c:pt>
                <c:pt idx="367">
                  <c:v>1667</c:v>
                </c:pt>
                <c:pt idx="368">
                  <c:v>1668</c:v>
                </c:pt>
                <c:pt idx="369">
                  <c:v>1667</c:v>
                </c:pt>
                <c:pt idx="370">
                  <c:v>1672</c:v>
                </c:pt>
                <c:pt idx="371">
                  <c:v>1670</c:v>
                </c:pt>
                <c:pt idx="372">
                  <c:v>1671</c:v>
                </c:pt>
                <c:pt idx="373">
                  <c:v>1672</c:v>
                </c:pt>
                <c:pt idx="374">
                  <c:v>1674</c:v>
                </c:pt>
                <c:pt idx="375">
                  <c:v>1673</c:v>
                </c:pt>
                <c:pt idx="376">
                  <c:v>1672</c:v>
                </c:pt>
                <c:pt idx="377">
                  <c:v>1673</c:v>
                </c:pt>
                <c:pt idx="378">
                  <c:v>1674</c:v>
                </c:pt>
                <c:pt idx="379">
                  <c:v>1673</c:v>
                </c:pt>
                <c:pt idx="380">
                  <c:v>1672</c:v>
                </c:pt>
                <c:pt idx="381">
                  <c:v>1669</c:v>
                </c:pt>
                <c:pt idx="382">
                  <c:v>1667</c:v>
                </c:pt>
                <c:pt idx="383">
                  <c:v>1667</c:v>
                </c:pt>
                <c:pt idx="384">
                  <c:v>1672</c:v>
                </c:pt>
                <c:pt idx="385">
                  <c:v>1672</c:v>
                </c:pt>
                <c:pt idx="386">
                  <c:v>1672</c:v>
                </c:pt>
                <c:pt idx="387">
                  <c:v>1670</c:v>
                </c:pt>
                <c:pt idx="388">
                  <c:v>1670</c:v>
                </c:pt>
                <c:pt idx="389">
                  <c:v>1671</c:v>
                </c:pt>
                <c:pt idx="390">
                  <c:v>1672</c:v>
                </c:pt>
                <c:pt idx="391">
                  <c:v>1677</c:v>
                </c:pt>
                <c:pt idx="392">
                  <c:v>1676</c:v>
                </c:pt>
                <c:pt idx="393">
                  <c:v>1681</c:v>
                </c:pt>
                <c:pt idx="394">
                  <c:v>1681</c:v>
                </c:pt>
                <c:pt idx="395">
                  <c:v>1682</c:v>
                </c:pt>
                <c:pt idx="396">
                  <c:v>1682</c:v>
                </c:pt>
                <c:pt idx="397">
                  <c:v>1682</c:v>
                </c:pt>
                <c:pt idx="398">
                  <c:v>1687</c:v>
                </c:pt>
                <c:pt idx="399">
                  <c:v>1691</c:v>
                </c:pt>
                <c:pt idx="400">
                  <c:v>1696</c:v>
                </c:pt>
                <c:pt idx="401">
                  <c:v>1696</c:v>
                </c:pt>
                <c:pt idx="402">
                  <c:v>1722</c:v>
                </c:pt>
                <c:pt idx="403">
                  <c:v>1723</c:v>
                </c:pt>
                <c:pt idx="404">
                  <c:v>1721</c:v>
                </c:pt>
                <c:pt idx="405">
                  <c:v>1724</c:v>
                </c:pt>
                <c:pt idx="406">
                  <c:v>1722</c:v>
                </c:pt>
                <c:pt idx="407">
                  <c:v>1741</c:v>
                </c:pt>
                <c:pt idx="408">
                  <c:v>1741</c:v>
                </c:pt>
                <c:pt idx="409">
                  <c:v>1748</c:v>
                </c:pt>
                <c:pt idx="410">
                  <c:v>1747</c:v>
                </c:pt>
                <c:pt idx="411">
                  <c:v>1747</c:v>
                </c:pt>
                <c:pt idx="412">
                  <c:v>1763</c:v>
                </c:pt>
                <c:pt idx="413">
                  <c:v>1768</c:v>
                </c:pt>
                <c:pt idx="414">
                  <c:v>1775</c:v>
                </c:pt>
                <c:pt idx="415">
                  <c:v>1777</c:v>
                </c:pt>
                <c:pt idx="416">
                  <c:v>1769</c:v>
                </c:pt>
                <c:pt idx="417">
                  <c:v>1763</c:v>
                </c:pt>
                <c:pt idx="418">
                  <c:v>1765</c:v>
                </c:pt>
                <c:pt idx="419">
                  <c:v>1797</c:v>
                </c:pt>
                <c:pt idx="420">
                  <c:v>1808</c:v>
                </c:pt>
                <c:pt idx="421">
                  <c:v>1831</c:v>
                </c:pt>
                <c:pt idx="422">
                  <c:v>1816</c:v>
                </c:pt>
                <c:pt idx="423">
                  <c:v>1840</c:v>
                </c:pt>
                <c:pt idx="424">
                  <c:v>1842</c:v>
                </c:pt>
                <c:pt idx="425">
                  <c:v>1852</c:v>
                </c:pt>
                <c:pt idx="426">
                  <c:v>1929</c:v>
                </c:pt>
                <c:pt idx="427">
                  <c:v>1952</c:v>
                </c:pt>
                <c:pt idx="428">
                  <c:v>1970</c:v>
                </c:pt>
                <c:pt idx="429">
                  <c:v>2032</c:v>
                </c:pt>
                <c:pt idx="430">
                  <c:v>2069</c:v>
                </c:pt>
                <c:pt idx="431">
                  <c:v>2070</c:v>
                </c:pt>
                <c:pt idx="432">
                  <c:v>2071</c:v>
                </c:pt>
                <c:pt idx="433">
                  <c:v>2147</c:v>
                </c:pt>
                <c:pt idx="434">
                  <c:v>2179</c:v>
                </c:pt>
                <c:pt idx="435">
                  <c:v>2197</c:v>
                </c:pt>
                <c:pt idx="436">
                  <c:v>2234</c:v>
                </c:pt>
                <c:pt idx="437">
                  <c:v>2275</c:v>
                </c:pt>
                <c:pt idx="438">
                  <c:v>2279</c:v>
                </c:pt>
                <c:pt idx="439">
                  <c:v>2290</c:v>
                </c:pt>
                <c:pt idx="440">
                  <c:v>2370</c:v>
                </c:pt>
                <c:pt idx="441">
                  <c:v>2369</c:v>
                </c:pt>
                <c:pt idx="442">
                  <c:v>2357</c:v>
                </c:pt>
                <c:pt idx="443">
                  <c:v>2405</c:v>
                </c:pt>
                <c:pt idx="444">
                  <c:v>2485</c:v>
                </c:pt>
                <c:pt idx="445">
                  <c:v>2476</c:v>
                </c:pt>
                <c:pt idx="446">
                  <c:v>2469</c:v>
                </c:pt>
                <c:pt idx="447">
                  <c:v>2577</c:v>
                </c:pt>
                <c:pt idx="448">
                  <c:v>2564</c:v>
                </c:pt>
                <c:pt idx="449">
                  <c:v>2582</c:v>
                </c:pt>
                <c:pt idx="450">
                  <c:v>2582</c:v>
                </c:pt>
                <c:pt idx="451">
                  <c:v>2624</c:v>
                </c:pt>
                <c:pt idx="452">
                  <c:v>2597</c:v>
                </c:pt>
                <c:pt idx="453">
                  <c:v>2586</c:v>
                </c:pt>
                <c:pt idx="454">
                  <c:v>2655</c:v>
                </c:pt>
                <c:pt idx="455">
                  <c:v>2616</c:v>
                </c:pt>
                <c:pt idx="456">
                  <c:v>2582</c:v>
                </c:pt>
                <c:pt idx="457">
                  <c:v>2600</c:v>
                </c:pt>
                <c:pt idx="458">
                  <c:v>2458</c:v>
                </c:pt>
                <c:pt idx="459">
                  <c:v>2442</c:v>
                </c:pt>
                <c:pt idx="460">
                  <c:v>2413</c:v>
                </c:pt>
                <c:pt idx="461">
                  <c:v>2469</c:v>
                </c:pt>
                <c:pt idx="462">
                  <c:v>2408</c:v>
                </c:pt>
                <c:pt idx="463">
                  <c:v>2375</c:v>
                </c:pt>
                <c:pt idx="464">
                  <c:v>2325</c:v>
                </c:pt>
                <c:pt idx="465">
                  <c:v>2265</c:v>
                </c:pt>
                <c:pt idx="466">
                  <c:v>2214</c:v>
                </c:pt>
                <c:pt idx="467">
                  <c:v>2207</c:v>
                </c:pt>
                <c:pt idx="468">
                  <c:v>2239</c:v>
                </c:pt>
                <c:pt idx="469">
                  <c:v>2195</c:v>
                </c:pt>
                <c:pt idx="470">
                  <c:v>2156</c:v>
                </c:pt>
                <c:pt idx="471">
                  <c:v>2109</c:v>
                </c:pt>
                <c:pt idx="472">
                  <c:v>2068</c:v>
                </c:pt>
                <c:pt idx="473">
                  <c:v>1975</c:v>
                </c:pt>
                <c:pt idx="474">
                  <c:v>1970</c:v>
                </c:pt>
                <c:pt idx="475">
                  <c:v>1997</c:v>
                </c:pt>
                <c:pt idx="476">
                  <c:v>1925</c:v>
                </c:pt>
                <c:pt idx="477">
                  <c:v>1874</c:v>
                </c:pt>
                <c:pt idx="478">
                  <c:v>1808</c:v>
                </c:pt>
                <c:pt idx="479">
                  <c:v>1772</c:v>
                </c:pt>
                <c:pt idx="480">
                  <c:v>1737</c:v>
                </c:pt>
                <c:pt idx="481">
                  <c:v>1723</c:v>
                </c:pt>
                <c:pt idx="482">
                  <c:v>1731</c:v>
                </c:pt>
                <c:pt idx="483">
                  <c:v>1688</c:v>
                </c:pt>
                <c:pt idx="484">
                  <c:v>1652</c:v>
                </c:pt>
                <c:pt idx="485">
                  <c:v>1626</c:v>
                </c:pt>
                <c:pt idx="486">
                  <c:v>1607</c:v>
                </c:pt>
                <c:pt idx="487">
                  <c:v>1579</c:v>
                </c:pt>
                <c:pt idx="488">
                  <c:v>1567</c:v>
                </c:pt>
                <c:pt idx="489">
                  <c:v>1579</c:v>
                </c:pt>
                <c:pt idx="490">
                  <c:v>1553</c:v>
                </c:pt>
                <c:pt idx="491">
                  <c:v>1543</c:v>
                </c:pt>
                <c:pt idx="492">
                  <c:v>1543</c:v>
                </c:pt>
                <c:pt idx="493">
                  <c:v>1543</c:v>
                </c:pt>
                <c:pt idx="494">
                  <c:v>1537</c:v>
                </c:pt>
                <c:pt idx="495">
                  <c:v>1534</c:v>
                </c:pt>
                <c:pt idx="496">
                  <c:v>1551</c:v>
                </c:pt>
                <c:pt idx="497">
                  <c:v>1531</c:v>
                </c:pt>
                <c:pt idx="498">
                  <c:v>1524</c:v>
                </c:pt>
                <c:pt idx="499">
                  <c:v>1516</c:v>
                </c:pt>
                <c:pt idx="500">
                  <c:v>1518</c:v>
                </c:pt>
                <c:pt idx="501">
                  <c:v>1517</c:v>
                </c:pt>
                <c:pt idx="502">
                  <c:v>1530</c:v>
                </c:pt>
                <c:pt idx="503">
                  <c:v>1592</c:v>
                </c:pt>
                <c:pt idx="504">
                  <c:v>1617</c:v>
                </c:pt>
                <c:pt idx="505">
                  <c:v>1649</c:v>
                </c:pt>
                <c:pt idx="506">
                  <c:v>1708</c:v>
                </c:pt>
                <c:pt idx="507">
                  <c:v>1770</c:v>
                </c:pt>
                <c:pt idx="508">
                  <c:v>1783</c:v>
                </c:pt>
                <c:pt idx="509">
                  <c:v>1788</c:v>
                </c:pt>
                <c:pt idx="510">
                  <c:v>1895</c:v>
                </c:pt>
                <c:pt idx="511">
                  <c:v>1994</c:v>
                </c:pt>
                <c:pt idx="512">
                  <c:v>2116</c:v>
                </c:pt>
                <c:pt idx="513">
                  <c:v>2188</c:v>
                </c:pt>
                <c:pt idx="514">
                  <c:v>2241</c:v>
                </c:pt>
                <c:pt idx="515">
                  <c:v>2223</c:v>
                </c:pt>
                <c:pt idx="516">
                  <c:v>2200</c:v>
                </c:pt>
                <c:pt idx="517">
                  <c:v>2283</c:v>
                </c:pt>
                <c:pt idx="518">
                  <c:v>2351</c:v>
                </c:pt>
                <c:pt idx="519">
                  <c:v>2438</c:v>
                </c:pt>
                <c:pt idx="520">
                  <c:v>2490</c:v>
                </c:pt>
                <c:pt idx="521">
                  <c:v>2483</c:v>
                </c:pt>
                <c:pt idx="522">
                  <c:v>2345</c:v>
                </c:pt>
                <c:pt idx="523">
                  <c:v>2231</c:v>
                </c:pt>
                <c:pt idx="524">
                  <c:v>2292</c:v>
                </c:pt>
                <c:pt idx="525">
                  <c:v>2282</c:v>
                </c:pt>
                <c:pt idx="526">
                  <c:v>2328</c:v>
                </c:pt>
                <c:pt idx="527">
                  <c:v>2383</c:v>
                </c:pt>
                <c:pt idx="528">
                  <c:v>2292</c:v>
                </c:pt>
                <c:pt idx="529">
                  <c:v>2127</c:v>
                </c:pt>
                <c:pt idx="530">
                  <c:v>2026</c:v>
                </c:pt>
                <c:pt idx="531">
                  <c:v>2048</c:v>
                </c:pt>
                <c:pt idx="532">
                  <c:v>2015</c:v>
                </c:pt>
                <c:pt idx="533">
                  <c:v>2083</c:v>
                </c:pt>
                <c:pt idx="534">
                  <c:v>2139</c:v>
                </c:pt>
                <c:pt idx="535">
                  <c:v>1937</c:v>
                </c:pt>
                <c:pt idx="536">
                  <c:v>1779</c:v>
                </c:pt>
                <c:pt idx="537">
                  <c:v>1677</c:v>
                </c:pt>
                <c:pt idx="538">
                  <c:v>1635</c:v>
                </c:pt>
                <c:pt idx="539">
                  <c:v>1562</c:v>
                </c:pt>
                <c:pt idx="540">
                  <c:v>1596</c:v>
                </c:pt>
                <c:pt idx="541">
                  <c:v>1612</c:v>
                </c:pt>
                <c:pt idx="542">
                  <c:v>1455</c:v>
                </c:pt>
                <c:pt idx="543">
                  <c:v>1330</c:v>
                </c:pt>
                <c:pt idx="544">
                  <c:v>1173</c:v>
                </c:pt>
                <c:pt idx="545">
                  <c:v>1137</c:v>
                </c:pt>
                <c:pt idx="546">
                  <c:v>1097</c:v>
                </c:pt>
                <c:pt idx="547">
                  <c:v>1118</c:v>
                </c:pt>
                <c:pt idx="548">
                  <c:v>1127</c:v>
                </c:pt>
                <c:pt idx="549">
                  <c:v>1029</c:v>
                </c:pt>
                <c:pt idx="550">
                  <c:v>927</c:v>
                </c:pt>
                <c:pt idx="551">
                  <c:v>856</c:v>
                </c:pt>
                <c:pt idx="552">
                  <c:v>842</c:v>
                </c:pt>
                <c:pt idx="553">
                  <c:v>862</c:v>
                </c:pt>
                <c:pt idx="554">
                  <c:v>878</c:v>
                </c:pt>
                <c:pt idx="555">
                  <c:v>881</c:v>
                </c:pt>
                <c:pt idx="556">
                  <c:v>800</c:v>
                </c:pt>
                <c:pt idx="557">
                  <c:v>734</c:v>
                </c:pt>
                <c:pt idx="558">
                  <c:v>687</c:v>
                </c:pt>
                <c:pt idx="559">
                  <c:v>698</c:v>
                </c:pt>
                <c:pt idx="560">
                  <c:v>697</c:v>
                </c:pt>
                <c:pt idx="561">
                  <c:v>715</c:v>
                </c:pt>
                <c:pt idx="562">
                  <c:v>730</c:v>
                </c:pt>
                <c:pt idx="563">
                  <c:v>691</c:v>
                </c:pt>
                <c:pt idx="564">
                  <c:v>587</c:v>
                </c:pt>
                <c:pt idx="565">
                  <c:v>538</c:v>
                </c:pt>
                <c:pt idx="566">
                  <c:v>560</c:v>
                </c:pt>
                <c:pt idx="567">
                  <c:v>550</c:v>
                </c:pt>
                <c:pt idx="568">
                  <c:v>581</c:v>
                </c:pt>
                <c:pt idx="569">
                  <c:v>614</c:v>
                </c:pt>
                <c:pt idx="570">
                  <c:v>576</c:v>
                </c:pt>
                <c:pt idx="571">
                  <c:v>519</c:v>
                </c:pt>
                <c:pt idx="572">
                  <c:v>456</c:v>
                </c:pt>
                <c:pt idx="573">
                  <c:v>456</c:v>
                </c:pt>
                <c:pt idx="574">
                  <c:v>463</c:v>
                </c:pt>
                <c:pt idx="575">
                  <c:v>487</c:v>
                </c:pt>
                <c:pt idx="576">
                  <c:v>476</c:v>
                </c:pt>
                <c:pt idx="577">
                  <c:v>373</c:v>
                </c:pt>
                <c:pt idx="578">
                  <c:v>373</c:v>
                </c:pt>
                <c:pt idx="579">
                  <c:v>373</c:v>
                </c:pt>
                <c:pt idx="580">
                  <c:v>373</c:v>
                </c:pt>
                <c:pt idx="581">
                  <c:v>373</c:v>
                </c:pt>
                <c:pt idx="582">
                  <c:v>373</c:v>
                </c:pt>
                <c:pt idx="583">
                  <c:v>373</c:v>
                </c:pt>
                <c:pt idx="584">
                  <c:v>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4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7</c:v>
                </c:pt>
                <c:pt idx="58">
                  <c:v>11</c:v>
                </c:pt>
                <c:pt idx="59">
                  <c:v>19</c:v>
                </c:pt>
                <c:pt idx="60">
                  <c:v>21</c:v>
                </c:pt>
                <c:pt idx="61">
                  <c:v>22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0</c:v>
                </c:pt>
                <c:pt idx="66">
                  <c:v>47</c:v>
                </c:pt>
                <c:pt idx="67">
                  <c:v>38</c:v>
                </c:pt>
                <c:pt idx="68">
                  <c:v>59</c:v>
                </c:pt>
                <c:pt idx="69">
                  <c:v>64</c:v>
                </c:pt>
                <c:pt idx="70">
                  <c:v>82</c:v>
                </c:pt>
                <c:pt idx="71">
                  <c:v>70</c:v>
                </c:pt>
                <c:pt idx="72">
                  <c:v>89</c:v>
                </c:pt>
                <c:pt idx="73">
                  <c:v>89</c:v>
                </c:pt>
                <c:pt idx="74">
                  <c:v>105</c:v>
                </c:pt>
                <c:pt idx="75">
                  <c:v>111</c:v>
                </c:pt>
                <c:pt idx="76">
                  <c:v>124</c:v>
                </c:pt>
                <c:pt idx="77">
                  <c:v>128</c:v>
                </c:pt>
                <c:pt idx="78">
                  <c:v>117</c:v>
                </c:pt>
                <c:pt idx="79">
                  <c:v>140</c:v>
                </c:pt>
                <c:pt idx="80">
                  <c:v>143</c:v>
                </c:pt>
                <c:pt idx="81">
                  <c:v>159</c:v>
                </c:pt>
                <c:pt idx="82">
                  <c:v>191</c:v>
                </c:pt>
                <c:pt idx="83">
                  <c:v>162</c:v>
                </c:pt>
                <c:pt idx="84">
                  <c:v>201</c:v>
                </c:pt>
                <c:pt idx="85">
                  <c:v>204</c:v>
                </c:pt>
                <c:pt idx="86">
                  <c:v>186</c:v>
                </c:pt>
                <c:pt idx="87">
                  <c:v>183</c:v>
                </c:pt>
                <c:pt idx="88">
                  <c:v>159</c:v>
                </c:pt>
                <c:pt idx="89">
                  <c:v>108</c:v>
                </c:pt>
                <c:pt idx="90">
                  <c:v>93</c:v>
                </c:pt>
                <c:pt idx="91">
                  <c:v>64</c:v>
                </c:pt>
                <c:pt idx="92">
                  <c:v>62</c:v>
                </c:pt>
                <c:pt idx="93">
                  <c:v>51</c:v>
                </c:pt>
                <c:pt idx="94">
                  <c:v>31</c:v>
                </c:pt>
                <c:pt idx="95">
                  <c:v>22</c:v>
                </c:pt>
                <c:pt idx="96">
                  <c:v>10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8</c:v>
                </c:pt>
                <c:pt idx="5">
                  <c:v>10</c:v>
                </c:pt>
                <c:pt idx="6">
                  <c:v>5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0</c:v>
                </c:pt>
                <c:pt idx="11">
                  <c:v>16</c:v>
                </c:pt>
                <c:pt idx="12">
                  <c:v>34</c:v>
                </c:pt>
                <c:pt idx="13">
                  <c:v>23</c:v>
                </c:pt>
                <c:pt idx="14">
                  <c:v>29</c:v>
                </c:pt>
                <c:pt idx="15">
                  <c:v>26</c:v>
                </c:pt>
                <c:pt idx="16">
                  <c:v>40</c:v>
                </c:pt>
                <c:pt idx="17">
                  <c:v>35</c:v>
                </c:pt>
                <c:pt idx="18">
                  <c:v>28</c:v>
                </c:pt>
                <c:pt idx="19">
                  <c:v>40</c:v>
                </c:pt>
                <c:pt idx="20">
                  <c:v>54</c:v>
                </c:pt>
                <c:pt idx="21">
                  <c:v>61</c:v>
                </c:pt>
                <c:pt idx="22">
                  <c:v>71</c:v>
                </c:pt>
                <c:pt idx="23">
                  <c:v>65</c:v>
                </c:pt>
                <c:pt idx="24">
                  <c:v>87</c:v>
                </c:pt>
                <c:pt idx="25">
                  <c:v>78</c:v>
                </c:pt>
                <c:pt idx="26">
                  <c:v>83</c:v>
                </c:pt>
                <c:pt idx="27">
                  <c:v>84</c:v>
                </c:pt>
                <c:pt idx="28">
                  <c:v>91</c:v>
                </c:pt>
                <c:pt idx="29">
                  <c:v>90</c:v>
                </c:pt>
                <c:pt idx="30">
                  <c:v>106</c:v>
                </c:pt>
                <c:pt idx="31">
                  <c:v>100</c:v>
                </c:pt>
                <c:pt idx="32">
                  <c:v>88</c:v>
                </c:pt>
                <c:pt idx="33">
                  <c:v>103</c:v>
                </c:pt>
                <c:pt idx="34">
                  <c:v>136</c:v>
                </c:pt>
                <c:pt idx="35">
                  <c:v>114</c:v>
                </c:pt>
                <c:pt idx="36">
                  <c:v>143</c:v>
                </c:pt>
                <c:pt idx="37">
                  <c:v>157</c:v>
                </c:pt>
                <c:pt idx="38">
                  <c:v>142</c:v>
                </c:pt>
                <c:pt idx="39">
                  <c:v>150</c:v>
                </c:pt>
                <c:pt idx="40">
                  <c:v>167</c:v>
                </c:pt>
                <c:pt idx="41">
                  <c:v>161</c:v>
                </c:pt>
                <c:pt idx="42">
                  <c:v>166</c:v>
                </c:pt>
                <c:pt idx="43">
                  <c:v>169</c:v>
                </c:pt>
                <c:pt idx="44">
                  <c:v>149</c:v>
                </c:pt>
                <c:pt idx="45">
                  <c:v>151</c:v>
                </c:pt>
                <c:pt idx="46">
                  <c:v>161</c:v>
                </c:pt>
                <c:pt idx="47">
                  <c:v>176</c:v>
                </c:pt>
                <c:pt idx="48">
                  <c:v>147</c:v>
                </c:pt>
                <c:pt idx="49">
                  <c:v>162</c:v>
                </c:pt>
                <c:pt idx="50">
                  <c:v>174</c:v>
                </c:pt>
                <c:pt idx="51">
                  <c:v>198</c:v>
                </c:pt>
                <c:pt idx="52">
                  <c:v>188</c:v>
                </c:pt>
                <c:pt idx="53">
                  <c:v>190</c:v>
                </c:pt>
                <c:pt idx="54">
                  <c:v>161</c:v>
                </c:pt>
                <c:pt idx="55">
                  <c:v>203</c:v>
                </c:pt>
                <c:pt idx="56">
                  <c:v>233</c:v>
                </c:pt>
                <c:pt idx="57">
                  <c:v>230</c:v>
                </c:pt>
                <c:pt idx="58">
                  <c:v>254</c:v>
                </c:pt>
                <c:pt idx="59">
                  <c:v>287</c:v>
                </c:pt>
                <c:pt idx="60">
                  <c:v>345</c:v>
                </c:pt>
                <c:pt idx="61">
                  <c:v>325</c:v>
                </c:pt>
                <c:pt idx="62">
                  <c:v>355</c:v>
                </c:pt>
                <c:pt idx="63">
                  <c:v>367</c:v>
                </c:pt>
                <c:pt idx="64">
                  <c:v>387</c:v>
                </c:pt>
                <c:pt idx="65">
                  <c:v>471</c:v>
                </c:pt>
                <c:pt idx="66">
                  <c:v>499</c:v>
                </c:pt>
                <c:pt idx="67">
                  <c:v>513</c:v>
                </c:pt>
                <c:pt idx="68">
                  <c:v>602</c:v>
                </c:pt>
                <c:pt idx="69">
                  <c:v>653</c:v>
                </c:pt>
                <c:pt idx="70">
                  <c:v>689</c:v>
                </c:pt>
                <c:pt idx="71">
                  <c:v>648</c:v>
                </c:pt>
                <c:pt idx="72">
                  <c:v>793</c:v>
                </c:pt>
                <c:pt idx="73">
                  <c:v>828</c:v>
                </c:pt>
                <c:pt idx="74">
                  <c:v>846</c:v>
                </c:pt>
                <c:pt idx="75">
                  <c:v>907</c:v>
                </c:pt>
                <c:pt idx="76">
                  <c:v>999</c:v>
                </c:pt>
                <c:pt idx="77">
                  <c:v>1004</c:v>
                </c:pt>
                <c:pt idx="78">
                  <c:v>997</c:v>
                </c:pt>
                <c:pt idx="79">
                  <c:v>1132</c:v>
                </c:pt>
                <c:pt idx="80">
                  <c:v>1099</c:v>
                </c:pt>
                <c:pt idx="81">
                  <c:v>1241</c:v>
                </c:pt>
                <c:pt idx="82">
                  <c:v>1305</c:v>
                </c:pt>
                <c:pt idx="83">
                  <c:v>1329</c:v>
                </c:pt>
                <c:pt idx="84">
                  <c:v>1380</c:v>
                </c:pt>
                <c:pt idx="85">
                  <c:v>1336</c:v>
                </c:pt>
                <c:pt idx="86">
                  <c:v>1311</c:v>
                </c:pt>
                <c:pt idx="87">
                  <c:v>1106</c:v>
                </c:pt>
                <c:pt idx="88">
                  <c:v>980</c:v>
                </c:pt>
                <c:pt idx="89">
                  <c:v>789</c:v>
                </c:pt>
                <c:pt idx="90">
                  <c:v>574</c:v>
                </c:pt>
                <c:pt idx="91">
                  <c:v>440</c:v>
                </c:pt>
                <c:pt idx="92">
                  <c:v>334</c:v>
                </c:pt>
                <c:pt idx="93">
                  <c:v>242</c:v>
                </c:pt>
                <c:pt idx="94">
                  <c:v>162</c:v>
                </c:pt>
                <c:pt idx="95">
                  <c:v>104</c:v>
                </c:pt>
                <c:pt idx="96">
                  <c:v>48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Y$1</c:f>
              <c:strCache>
                <c:ptCount val="24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  <c:pt idx="21">
                  <c:v>02/2022</c:v>
                </c:pt>
                <c:pt idx="22">
                  <c:v>03/2022</c:v>
                </c:pt>
                <c:pt idx="23">
                  <c:v>04/2022</c:v>
                </c:pt>
              </c:strCache>
            </c:strRef>
          </c:cat>
          <c:val>
            <c:numRef>
              <c:f>List1!$B$2:$Y$2</c:f>
              <c:numCache>
                <c:formatCode>General</c:formatCode>
                <c:ptCount val="24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728</c:v>
                </c:pt>
                <c:pt idx="21">
                  <c:v>1895</c:v>
                </c:pt>
                <c:pt idx="22">
                  <c:v>649</c:v>
                </c:pt>
                <c:pt idx="23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5798771781857E-2"/>
          <c:y val="2.8705141534522347E-2"/>
          <c:w val="0.91847729224387953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Sheet1!$B$2:$B$586</c:f>
              <c:numCache>
                <c:formatCode>#\ ##0_ ;\-#\ ##0\ </c:formatCode>
                <c:ptCount val="585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9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7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3</c:v>
                </c:pt>
                <c:pt idx="32">
                  <c:v>36</c:v>
                </c:pt>
                <c:pt idx="33">
                  <c:v>57</c:v>
                </c:pt>
                <c:pt idx="34">
                  <c:v>169</c:v>
                </c:pt>
                <c:pt idx="35">
                  <c:v>83</c:v>
                </c:pt>
                <c:pt idx="36">
                  <c:v>45</c:v>
                </c:pt>
                <c:pt idx="37">
                  <c:v>80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9</c:v>
                </c:pt>
                <c:pt idx="42">
                  <c:v>225</c:v>
                </c:pt>
                <c:pt idx="43">
                  <c:v>182</c:v>
                </c:pt>
                <c:pt idx="44">
                  <c:v>201</c:v>
                </c:pt>
                <c:pt idx="45">
                  <c:v>206</c:v>
                </c:pt>
                <c:pt idx="46">
                  <c:v>157</c:v>
                </c:pt>
                <c:pt idx="47">
                  <c:v>41</c:v>
                </c:pt>
                <c:pt idx="48">
                  <c:v>247</c:v>
                </c:pt>
                <c:pt idx="49">
                  <c:v>203</c:v>
                </c:pt>
                <c:pt idx="50">
                  <c:v>327</c:v>
                </c:pt>
                <c:pt idx="51">
                  <c:v>239</c:v>
                </c:pt>
                <c:pt idx="52">
                  <c:v>424</c:v>
                </c:pt>
                <c:pt idx="53">
                  <c:v>231</c:v>
                </c:pt>
                <c:pt idx="54">
                  <c:v>201</c:v>
                </c:pt>
                <c:pt idx="55">
                  <c:v>392</c:v>
                </c:pt>
                <c:pt idx="56">
                  <c:v>540</c:v>
                </c:pt>
                <c:pt idx="57">
                  <c:v>266</c:v>
                </c:pt>
                <c:pt idx="58">
                  <c:v>548</c:v>
                </c:pt>
                <c:pt idx="59">
                  <c:v>590</c:v>
                </c:pt>
                <c:pt idx="60">
                  <c:v>340</c:v>
                </c:pt>
                <c:pt idx="61">
                  <c:v>217</c:v>
                </c:pt>
                <c:pt idx="62">
                  <c:v>340</c:v>
                </c:pt>
                <c:pt idx="63">
                  <c:v>351</c:v>
                </c:pt>
                <c:pt idx="64">
                  <c:v>427</c:v>
                </c:pt>
                <c:pt idx="65">
                  <c:v>542</c:v>
                </c:pt>
                <c:pt idx="66">
                  <c:v>503</c:v>
                </c:pt>
                <c:pt idx="67">
                  <c:v>216</c:v>
                </c:pt>
                <c:pt idx="68">
                  <c:v>83</c:v>
                </c:pt>
                <c:pt idx="69">
                  <c:v>210</c:v>
                </c:pt>
                <c:pt idx="70">
                  <c:v>387</c:v>
                </c:pt>
                <c:pt idx="71">
                  <c:v>684</c:v>
                </c:pt>
                <c:pt idx="72">
                  <c:v>506</c:v>
                </c:pt>
                <c:pt idx="73">
                  <c:v>487</c:v>
                </c:pt>
                <c:pt idx="74">
                  <c:v>186</c:v>
                </c:pt>
                <c:pt idx="75">
                  <c:v>172</c:v>
                </c:pt>
                <c:pt idx="76">
                  <c:v>393</c:v>
                </c:pt>
                <c:pt idx="77">
                  <c:v>139</c:v>
                </c:pt>
                <c:pt idx="78">
                  <c:v>275</c:v>
                </c:pt>
                <c:pt idx="79">
                  <c:v>277</c:v>
                </c:pt>
                <c:pt idx="80">
                  <c:v>246</c:v>
                </c:pt>
                <c:pt idx="81">
                  <c:v>96</c:v>
                </c:pt>
                <c:pt idx="82">
                  <c:v>93</c:v>
                </c:pt>
                <c:pt idx="83">
                  <c:v>386</c:v>
                </c:pt>
                <c:pt idx="84">
                  <c:v>202</c:v>
                </c:pt>
                <c:pt idx="85">
                  <c:v>131</c:v>
                </c:pt>
                <c:pt idx="86">
                  <c:v>200</c:v>
                </c:pt>
                <c:pt idx="87">
                  <c:v>140</c:v>
                </c:pt>
                <c:pt idx="88">
                  <c:v>80</c:v>
                </c:pt>
                <c:pt idx="89">
                  <c:v>29</c:v>
                </c:pt>
                <c:pt idx="90">
                  <c:v>214</c:v>
                </c:pt>
                <c:pt idx="91">
                  <c:v>126</c:v>
                </c:pt>
                <c:pt idx="92">
                  <c:v>136</c:v>
                </c:pt>
                <c:pt idx="93">
                  <c:v>135</c:v>
                </c:pt>
                <c:pt idx="94">
                  <c:v>151</c:v>
                </c:pt>
                <c:pt idx="95">
                  <c:v>90</c:v>
                </c:pt>
                <c:pt idx="96">
                  <c:v>23</c:v>
                </c:pt>
                <c:pt idx="97">
                  <c:v>146</c:v>
                </c:pt>
                <c:pt idx="98">
                  <c:v>93</c:v>
                </c:pt>
                <c:pt idx="99">
                  <c:v>142</c:v>
                </c:pt>
                <c:pt idx="100">
                  <c:v>85</c:v>
                </c:pt>
                <c:pt idx="101">
                  <c:v>240</c:v>
                </c:pt>
                <c:pt idx="102">
                  <c:v>67</c:v>
                </c:pt>
                <c:pt idx="103">
                  <c:v>52</c:v>
                </c:pt>
                <c:pt idx="104">
                  <c:v>150</c:v>
                </c:pt>
                <c:pt idx="105">
                  <c:v>134</c:v>
                </c:pt>
                <c:pt idx="106">
                  <c:v>100</c:v>
                </c:pt>
                <c:pt idx="107">
                  <c:v>70</c:v>
                </c:pt>
                <c:pt idx="108">
                  <c:v>224</c:v>
                </c:pt>
                <c:pt idx="109">
                  <c:v>61</c:v>
                </c:pt>
                <c:pt idx="110">
                  <c:v>22</c:v>
                </c:pt>
                <c:pt idx="111">
                  <c:v>181</c:v>
                </c:pt>
                <c:pt idx="112">
                  <c:v>180</c:v>
                </c:pt>
                <c:pt idx="113">
                  <c:v>124</c:v>
                </c:pt>
                <c:pt idx="114">
                  <c:v>19</c:v>
                </c:pt>
                <c:pt idx="115">
                  <c:v>73</c:v>
                </c:pt>
                <c:pt idx="116">
                  <c:v>80</c:v>
                </c:pt>
                <c:pt idx="117">
                  <c:v>98</c:v>
                </c:pt>
                <c:pt idx="118">
                  <c:v>167</c:v>
                </c:pt>
                <c:pt idx="119">
                  <c:v>185</c:v>
                </c:pt>
                <c:pt idx="120">
                  <c:v>148</c:v>
                </c:pt>
                <c:pt idx="121">
                  <c:v>137</c:v>
                </c:pt>
                <c:pt idx="122">
                  <c:v>67</c:v>
                </c:pt>
                <c:pt idx="123">
                  <c:v>62</c:v>
                </c:pt>
                <c:pt idx="124">
                  <c:v>43</c:v>
                </c:pt>
                <c:pt idx="125">
                  <c:v>273</c:v>
                </c:pt>
                <c:pt idx="126">
                  <c:v>156</c:v>
                </c:pt>
                <c:pt idx="127">
                  <c:v>164</c:v>
                </c:pt>
                <c:pt idx="128">
                  <c:v>236</c:v>
                </c:pt>
                <c:pt idx="129">
                  <c:v>190</c:v>
                </c:pt>
                <c:pt idx="130">
                  <c:v>66</c:v>
                </c:pt>
                <c:pt idx="131">
                  <c:v>37</c:v>
                </c:pt>
                <c:pt idx="132">
                  <c:v>245</c:v>
                </c:pt>
                <c:pt idx="133">
                  <c:v>130</c:v>
                </c:pt>
                <c:pt idx="134">
                  <c:v>175</c:v>
                </c:pt>
                <c:pt idx="135">
                  <c:v>100</c:v>
                </c:pt>
                <c:pt idx="136">
                  <c:v>92</c:v>
                </c:pt>
                <c:pt idx="137">
                  <c:v>36</c:v>
                </c:pt>
                <c:pt idx="138">
                  <c:v>49</c:v>
                </c:pt>
                <c:pt idx="139">
                  <c:v>169</c:v>
                </c:pt>
                <c:pt idx="140">
                  <c:v>84</c:v>
                </c:pt>
                <c:pt idx="141">
                  <c:v>147</c:v>
                </c:pt>
                <c:pt idx="142">
                  <c:v>109</c:v>
                </c:pt>
                <c:pt idx="143">
                  <c:v>119</c:v>
                </c:pt>
                <c:pt idx="144">
                  <c:v>54</c:v>
                </c:pt>
                <c:pt idx="145">
                  <c:v>26</c:v>
                </c:pt>
                <c:pt idx="146">
                  <c:v>88</c:v>
                </c:pt>
                <c:pt idx="147">
                  <c:v>43</c:v>
                </c:pt>
                <c:pt idx="148">
                  <c:v>97</c:v>
                </c:pt>
                <c:pt idx="149">
                  <c:v>68</c:v>
                </c:pt>
                <c:pt idx="150">
                  <c:v>39</c:v>
                </c:pt>
                <c:pt idx="151">
                  <c:v>50</c:v>
                </c:pt>
                <c:pt idx="152">
                  <c:v>10</c:v>
                </c:pt>
                <c:pt idx="153">
                  <c:v>108</c:v>
                </c:pt>
                <c:pt idx="154">
                  <c:v>98</c:v>
                </c:pt>
                <c:pt idx="155">
                  <c:v>104</c:v>
                </c:pt>
                <c:pt idx="156">
                  <c:v>87</c:v>
                </c:pt>
                <c:pt idx="157">
                  <c:v>86</c:v>
                </c:pt>
                <c:pt idx="158">
                  <c:v>44</c:v>
                </c:pt>
                <c:pt idx="159">
                  <c:v>17</c:v>
                </c:pt>
                <c:pt idx="160">
                  <c:v>67</c:v>
                </c:pt>
                <c:pt idx="161">
                  <c:v>67</c:v>
                </c:pt>
                <c:pt idx="162">
                  <c:v>68</c:v>
                </c:pt>
                <c:pt idx="163">
                  <c:v>70</c:v>
                </c:pt>
                <c:pt idx="164">
                  <c:v>52</c:v>
                </c:pt>
                <c:pt idx="165">
                  <c:v>9</c:v>
                </c:pt>
                <c:pt idx="166">
                  <c:v>14</c:v>
                </c:pt>
                <c:pt idx="167">
                  <c:v>39</c:v>
                </c:pt>
                <c:pt idx="168">
                  <c:v>20</c:v>
                </c:pt>
                <c:pt idx="169">
                  <c:v>30</c:v>
                </c:pt>
                <c:pt idx="170">
                  <c:v>31</c:v>
                </c:pt>
                <c:pt idx="171">
                  <c:v>29</c:v>
                </c:pt>
                <c:pt idx="172">
                  <c:v>19</c:v>
                </c:pt>
                <c:pt idx="173">
                  <c:v>8</c:v>
                </c:pt>
                <c:pt idx="174">
                  <c:v>94</c:v>
                </c:pt>
                <c:pt idx="175">
                  <c:v>37</c:v>
                </c:pt>
                <c:pt idx="176">
                  <c:v>36</c:v>
                </c:pt>
                <c:pt idx="177">
                  <c:v>46</c:v>
                </c:pt>
                <c:pt idx="178">
                  <c:v>49</c:v>
                </c:pt>
                <c:pt idx="179">
                  <c:v>11</c:v>
                </c:pt>
                <c:pt idx="180">
                  <c:v>3</c:v>
                </c:pt>
                <c:pt idx="181">
                  <c:v>79</c:v>
                </c:pt>
                <c:pt idx="182">
                  <c:v>29</c:v>
                </c:pt>
                <c:pt idx="183">
                  <c:v>44</c:v>
                </c:pt>
                <c:pt idx="184">
                  <c:v>11</c:v>
                </c:pt>
                <c:pt idx="185">
                  <c:v>26</c:v>
                </c:pt>
                <c:pt idx="186">
                  <c:v>5</c:v>
                </c:pt>
                <c:pt idx="187">
                  <c:v>6</c:v>
                </c:pt>
                <c:pt idx="188">
                  <c:v>28</c:v>
                </c:pt>
                <c:pt idx="189">
                  <c:v>117</c:v>
                </c:pt>
                <c:pt idx="190">
                  <c:v>79</c:v>
                </c:pt>
                <c:pt idx="191">
                  <c:v>15</c:v>
                </c:pt>
                <c:pt idx="192">
                  <c:v>34</c:v>
                </c:pt>
                <c:pt idx="193">
                  <c:v>9</c:v>
                </c:pt>
                <c:pt idx="194">
                  <c:v>7</c:v>
                </c:pt>
                <c:pt idx="195">
                  <c:v>34</c:v>
                </c:pt>
                <c:pt idx="196">
                  <c:v>23</c:v>
                </c:pt>
                <c:pt idx="197">
                  <c:v>12</c:v>
                </c:pt>
                <c:pt idx="198">
                  <c:v>37</c:v>
                </c:pt>
                <c:pt idx="199">
                  <c:v>19</c:v>
                </c:pt>
                <c:pt idx="200">
                  <c:v>10</c:v>
                </c:pt>
                <c:pt idx="201">
                  <c:v>4</c:v>
                </c:pt>
                <c:pt idx="202">
                  <c:v>13</c:v>
                </c:pt>
                <c:pt idx="203">
                  <c:v>31</c:v>
                </c:pt>
                <c:pt idx="204">
                  <c:v>24</c:v>
                </c:pt>
                <c:pt idx="205">
                  <c:v>32</c:v>
                </c:pt>
                <c:pt idx="206">
                  <c:v>8</c:v>
                </c:pt>
                <c:pt idx="207">
                  <c:v>3</c:v>
                </c:pt>
                <c:pt idx="208">
                  <c:v>4</c:v>
                </c:pt>
                <c:pt idx="209">
                  <c:v>22</c:v>
                </c:pt>
                <c:pt idx="210">
                  <c:v>13</c:v>
                </c:pt>
                <c:pt idx="211">
                  <c:v>11</c:v>
                </c:pt>
                <c:pt idx="212">
                  <c:v>11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6</c:v>
                </c:pt>
                <c:pt idx="218">
                  <c:v>19</c:v>
                </c:pt>
                <c:pt idx="219">
                  <c:v>2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2</c:v>
                </c:pt>
                <c:pt idx="224">
                  <c:v>4</c:v>
                </c:pt>
                <c:pt idx="225">
                  <c:v>4</c:v>
                </c:pt>
                <c:pt idx="226">
                  <c:v>4</c:v>
                </c:pt>
                <c:pt idx="227">
                  <c:v>2</c:v>
                </c:pt>
                <c:pt idx="228">
                  <c:v>1</c:v>
                </c:pt>
                <c:pt idx="229">
                  <c:v>2</c:v>
                </c:pt>
                <c:pt idx="230">
                  <c:v>7</c:v>
                </c:pt>
                <c:pt idx="231">
                  <c:v>5</c:v>
                </c:pt>
                <c:pt idx="232">
                  <c:v>4</c:v>
                </c:pt>
                <c:pt idx="233">
                  <c:v>19</c:v>
                </c:pt>
                <c:pt idx="234">
                  <c:v>8</c:v>
                </c:pt>
                <c:pt idx="235">
                  <c:v>1</c:v>
                </c:pt>
                <c:pt idx="236">
                  <c:v>0</c:v>
                </c:pt>
                <c:pt idx="237">
                  <c:v>2</c:v>
                </c:pt>
                <c:pt idx="238">
                  <c:v>4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3</c:v>
                </c:pt>
                <c:pt idx="247">
                  <c:v>1</c:v>
                </c:pt>
                <c:pt idx="248">
                  <c:v>2</c:v>
                </c:pt>
                <c:pt idx="249">
                  <c:v>0</c:v>
                </c:pt>
                <c:pt idx="250">
                  <c:v>4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5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2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2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0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8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1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9</c:v>
                </c:pt>
                <c:pt idx="424">
                  <c:v>7</c:v>
                </c:pt>
                <c:pt idx="425">
                  <c:v>11</c:v>
                </c:pt>
                <c:pt idx="426">
                  <c:v>36</c:v>
                </c:pt>
                <c:pt idx="427">
                  <c:v>15</c:v>
                </c:pt>
                <c:pt idx="428">
                  <c:v>16</c:v>
                </c:pt>
                <c:pt idx="429">
                  <c:v>53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30</c:v>
                </c:pt>
                <c:pt idx="435">
                  <c:v>16</c:v>
                </c:pt>
                <c:pt idx="436">
                  <c:v>19</c:v>
                </c:pt>
                <c:pt idx="437">
                  <c:v>17</c:v>
                </c:pt>
                <c:pt idx="438">
                  <c:v>13</c:v>
                </c:pt>
                <c:pt idx="439">
                  <c:v>15</c:v>
                </c:pt>
                <c:pt idx="440">
                  <c:v>43</c:v>
                </c:pt>
                <c:pt idx="441">
                  <c:v>32</c:v>
                </c:pt>
                <c:pt idx="442">
                  <c:v>25</c:v>
                </c:pt>
                <c:pt idx="443">
                  <c:v>56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50</c:v>
                </c:pt>
                <c:pt idx="448">
                  <c:v>24</c:v>
                </c:pt>
                <c:pt idx="449">
                  <c:v>42</c:v>
                </c:pt>
                <c:pt idx="450">
                  <c:v>29</c:v>
                </c:pt>
                <c:pt idx="451">
                  <c:v>53</c:v>
                </c:pt>
                <c:pt idx="452">
                  <c:v>5</c:v>
                </c:pt>
                <c:pt idx="453">
                  <c:v>7</c:v>
                </c:pt>
                <c:pt idx="454">
                  <c:v>46</c:v>
                </c:pt>
                <c:pt idx="455">
                  <c:v>16</c:v>
                </c:pt>
                <c:pt idx="456">
                  <c:v>31</c:v>
                </c:pt>
                <c:pt idx="457">
                  <c:v>31</c:v>
                </c:pt>
                <c:pt idx="458">
                  <c:v>14</c:v>
                </c:pt>
                <c:pt idx="459">
                  <c:v>38</c:v>
                </c:pt>
                <c:pt idx="460">
                  <c:v>7</c:v>
                </c:pt>
                <c:pt idx="461">
                  <c:v>32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30</c:v>
                </c:pt>
                <c:pt idx="466">
                  <c:v>6</c:v>
                </c:pt>
                <c:pt idx="467">
                  <c:v>1</c:v>
                </c:pt>
                <c:pt idx="468">
                  <c:v>18</c:v>
                </c:pt>
                <c:pt idx="469">
                  <c:v>27</c:v>
                </c:pt>
                <c:pt idx="470">
                  <c:v>17</c:v>
                </c:pt>
                <c:pt idx="471">
                  <c:v>8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6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1</c:v>
                </c:pt>
                <c:pt idx="480">
                  <c:v>5</c:v>
                </c:pt>
                <c:pt idx="481">
                  <c:v>0</c:v>
                </c:pt>
                <c:pt idx="482">
                  <c:v>11</c:v>
                </c:pt>
                <c:pt idx="483">
                  <c:v>7</c:v>
                </c:pt>
                <c:pt idx="484">
                  <c:v>7</c:v>
                </c:pt>
                <c:pt idx="485">
                  <c:v>2</c:v>
                </c:pt>
                <c:pt idx="486">
                  <c:v>10</c:v>
                </c:pt>
                <c:pt idx="487">
                  <c:v>3</c:v>
                </c:pt>
                <c:pt idx="488">
                  <c:v>0</c:v>
                </c:pt>
                <c:pt idx="489">
                  <c:v>4</c:v>
                </c:pt>
                <c:pt idx="490">
                  <c:v>6</c:v>
                </c:pt>
                <c:pt idx="491">
                  <c:v>7</c:v>
                </c:pt>
                <c:pt idx="492">
                  <c:v>7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3</c:v>
                </c:pt>
                <c:pt idx="497">
                  <c:v>8</c:v>
                </c:pt>
                <c:pt idx="498">
                  <c:v>4</c:v>
                </c:pt>
                <c:pt idx="499">
                  <c:v>3</c:v>
                </c:pt>
                <c:pt idx="500">
                  <c:v>8</c:v>
                </c:pt>
                <c:pt idx="501">
                  <c:v>1</c:v>
                </c:pt>
                <c:pt idx="502">
                  <c:v>4</c:v>
                </c:pt>
                <c:pt idx="503">
                  <c:v>21</c:v>
                </c:pt>
                <c:pt idx="504">
                  <c:v>13</c:v>
                </c:pt>
                <c:pt idx="505">
                  <c:v>11</c:v>
                </c:pt>
                <c:pt idx="506">
                  <c:v>22</c:v>
                </c:pt>
                <c:pt idx="507">
                  <c:v>16</c:v>
                </c:pt>
                <c:pt idx="508">
                  <c:v>32</c:v>
                </c:pt>
                <c:pt idx="509">
                  <c:v>6</c:v>
                </c:pt>
                <c:pt idx="510">
                  <c:v>45</c:v>
                </c:pt>
                <c:pt idx="511">
                  <c:v>38</c:v>
                </c:pt>
                <c:pt idx="512">
                  <c:v>39</c:v>
                </c:pt>
                <c:pt idx="513">
                  <c:v>25</c:v>
                </c:pt>
                <c:pt idx="514">
                  <c:v>47</c:v>
                </c:pt>
                <c:pt idx="515">
                  <c:v>4</c:v>
                </c:pt>
                <c:pt idx="516">
                  <c:v>6</c:v>
                </c:pt>
                <c:pt idx="517">
                  <c:v>42</c:v>
                </c:pt>
                <c:pt idx="518">
                  <c:v>53</c:v>
                </c:pt>
                <c:pt idx="519">
                  <c:v>33</c:v>
                </c:pt>
                <c:pt idx="520">
                  <c:v>21</c:v>
                </c:pt>
                <c:pt idx="521">
                  <c:v>57</c:v>
                </c:pt>
                <c:pt idx="522">
                  <c:v>20</c:v>
                </c:pt>
                <c:pt idx="523">
                  <c:v>15</c:v>
                </c:pt>
                <c:pt idx="524">
                  <c:v>89</c:v>
                </c:pt>
                <c:pt idx="525">
                  <c:v>51</c:v>
                </c:pt>
                <c:pt idx="526">
                  <c:v>30</c:v>
                </c:pt>
                <c:pt idx="527">
                  <c:v>41</c:v>
                </c:pt>
                <c:pt idx="528">
                  <c:v>65</c:v>
                </c:pt>
                <c:pt idx="529">
                  <c:v>20</c:v>
                </c:pt>
                <c:pt idx="530">
                  <c:v>16</c:v>
                </c:pt>
                <c:pt idx="531">
                  <c:v>61</c:v>
                </c:pt>
                <c:pt idx="532">
                  <c:v>54</c:v>
                </c:pt>
                <c:pt idx="533">
                  <c:v>50</c:v>
                </c:pt>
                <c:pt idx="534">
                  <c:v>81</c:v>
                </c:pt>
                <c:pt idx="535">
                  <c:v>38</c:v>
                </c:pt>
                <c:pt idx="536">
                  <c:v>8</c:v>
                </c:pt>
                <c:pt idx="537">
                  <c:v>14</c:v>
                </c:pt>
                <c:pt idx="538">
                  <c:v>39</c:v>
                </c:pt>
                <c:pt idx="539">
                  <c:v>62</c:v>
                </c:pt>
                <c:pt idx="540">
                  <c:v>47</c:v>
                </c:pt>
                <c:pt idx="541">
                  <c:v>22</c:v>
                </c:pt>
                <c:pt idx="542">
                  <c:v>40</c:v>
                </c:pt>
                <c:pt idx="543" formatCode="General">
                  <c:v>11</c:v>
                </c:pt>
                <c:pt idx="544" formatCode="General">
                  <c:v>5</c:v>
                </c:pt>
                <c:pt idx="545" formatCode="General">
                  <c:v>43</c:v>
                </c:pt>
                <c:pt idx="546" formatCode="General">
                  <c:v>24</c:v>
                </c:pt>
                <c:pt idx="547" formatCode="General">
                  <c:v>34</c:v>
                </c:pt>
                <c:pt idx="548" formatCode="General">
                  <c:v>17</c:v>
                </c:pt>
                <c:pt idx="549" formatCode="General">
                  <c:v>20</c:v>
                </c:pt>
                <c:pt idx="550" formatCode="General">
                  <c:v>10</c:v>
                </c:pt>
                <c:pt idx="551" formatCode="General">
                  <c:v>7</c:v>
                </c:pt>
                <c:pt idx="552" formatCode="General">
                  <c:v>30</c:v>
                </c:pt>
                <c:pt idx="553" formatCode="General">
                  <c:v>56</c:v>
                </c:pt>
                <c:pt idx="554" formatCode="General">
                  <c:v>19</c:v>
                </c:pt>
                <c:pt idx="555" formatCode="General">
                  <c:v>26</c:v>
                </c:pt>
                <c:pt idx="556" formatCode="General">
                  <c:v>18</c:v>
                </c:pt>
                <c:pt idx="557" formatCode="General">
                  <c:v>2</c:v>
                </c:pt>
                <c:pt idx="558" formatCode="General">
                  <c:v>3</c:v>
                </c:pt>
                <c:pt idx="559" formatCode="General">
                  <c:v>21</c:v>
                </c:pt>
                <c:pt idx="560" formatCode="General">
                  <c:v>16</c:v>
                </c:pt>
                <c:pt idx="561" formatCode="General">
                  <c:v>28</c:v>
                </c:pt>
                <c:pt idx="562" formatCode="General">
                  <c:v>15</c:v>
                </c:pt>
                <c:pt idx="563" formatCode="General">
                  <c:v>18</c:v>
                </c:pt>
                <c:pt idx="564" formatCode="General">
                  <c:v>5</c:v>
                </c:pt>
                <c:pt idx="565" formatCode="General">
                  <c:v>5</c:v>
                </c:pt>
                <c:pt idx="566" formatCode="General">
                  <c:v>24</c:v>
                </c:pt>
                <c:pt idx="567" formatCode="General">
                  <c:v>24</c:v>
                </c:pt>
                <c:pt idx="568" formatCode="General">
                  <c:v>22</c:v>
                </c:pt>
                <c:pt idx="569" formatCode="General">
                  <c:v>25</c:v>
                </c:pt>
                <c:pt idx="570" formatCode="General">
                  <c:v>24</c:v>
                </c:pt>
                <c:pt idx="571" formatCode="General">
                  <c:v>7</c:v>
                </c:pt>
                <c:pt idx="572" formatCode="General">
                  <c:v>5</c:v>
                </c:pt>
                <c:pt idx="573" formatCode="General">
                  <c:v>19</c:v>
                </c:pt>
                <c:pt idx="574" formatCode="General">
                  <c:v>9</c:v>
                </c:pt>
                <c:pt idx="575" formatCode="General">
                  <c:v>21</c:v>
                </c:pt>
                <c:pt idx="576" formatCode="General">
                  <c:v>6</c:v>
                </c:pt>
                <c:pt idx="577" formatCode="General">
                  <c:v>24</c:v>
                </c:pt>
                <c:pt idx="578" formatCode="General">
                  <c:v>11</c:v>
                </c:pt>
                <c:pt idx="579" formatCode="General">
                  <c:v>2</c:v>
                </c:pt>
                <c:pt idx="580" formatCode="General">
                  <c:v>22</c:v>
                </c:pt>
                <c:pt idx="581" formatCode="General">
                  <c:v>17</c:v>
                </c:pt>
                <c:pt idx="582" formatCode="General">
                  <c:v>9</c:v>
                </c:pt>
                <c:pt idx="583" formatCode="General">
                  <c:v>1</c:v>
                </c:pt>
                <c:pt idx="584" formatCode="General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Sheet1!$B$2:$B$586</c:f>
              <c:numCache>
                <c:formatCode>#\ ##0_ ;\-#\ ##0\ </c:formatCode>
                <c:ptCount val="585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4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4</c:v>
                </c:pt>
                <c:pt idx="20">
                  <c:v>6</c:v>
                </c:pt>
                <c:pt idx="21">
                  <c:v>7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6</c:v>
                </c:pt>
                <c:pt idx="28">
                  <c:v>27</c:v>
                </c:pt>
                <c:pt idx="29">
                  <c:v>10</c:v>
                </c:pt>
                <c:pt idx="30">
                  <c:v>30</c:v>
                </c:pt>
                <c:pt idx="31">
                  <c:v>99</c:v>
                </c:pt>
                <c:pt idx="32">
                  <c:v>33</c:v>
                </c:pt>
                <c:pt idx="33">
                  <c:v>32</c:v>
                </c:pt>
                <c:pt idx="34">
                  <c:v>109</c:v>
                </c:pt>
                <c:pt idx="35">
                  <c:v>51</c:v>
                </c:pt>
                <c:pt idx="36">
                  <c:v>45</c:v>
                </c:pt>
                <c:pt idx="37">
                  <c:v>88</c:v>
                </c:pt>
                <c:pt idx="38">
                  <c:v>94</c:v>
                </c:pt>
                <c:pt idx="39">
                  <c:v>51</c:v>
                </c:pt>
                <c:pt idx="40">
                  <c:v>26</c:v>
                </c:pt>
                <c:pt idx="41">
                  <c:v>178</c:v>
                </c:pt>
                <c:pt idx="42">
                  <c:v>164</c:v>
                </c:pt>
                <c:pt idx="43">
                  <c:v>199</c:v>
                </c:pt>
                <c:pt idx="44">
                  <c:v>214</c:v>
                </c:pt>
                <c:pt idx="45">
                  <c:v>217</c:v>
                </c:pt>
                <c:pt idx="46">
                  <c:v>108</c:v>
                </c:pt>
                <c:pt idx="47">
                  <c:v>51</c:v>
                </c:pt>
                <c:pt idx="48">
                  <c:v>208</c:v>
                </c:pt>
                <c:pt idx="49">
                  <c:v>205</c:v>
                </c:pt>
                <c:pt idx="50">
                  <c:v>277</c:v>
                </c:pt>
                <c:pt idx="51">
                  <c:v>242</c:v>
                </c:pt>
                <c:pt idx="52">
                  <c:v>352</c:v>
                </c:pt>
                <c:pt idx="53">
                  <c:v>190</c:v>
                </c:pt>
                <c:pt idx="54">
                  <c:v>92</c:v>
                </c:pt>
                <c:pt idx="55">
                  <c:v>394</c:v>
                </c:pt>
                <c:pt idx="56">
                  <c:v>424</c:v>
                </c:pt>
                <c:pt idx="57">
                  <c:v>139</c:v>
                </c:pt>
                <c:pt idx="58">
                  <c:v>489</c:v>
                </c:pt>
                <c:pt idx="59">
                  <c:v>350</c:v>
                </c:pt>
                <c:pt idx="60">
                  <c:v>186</c:v>
                </c:pt>
                <c:pt idx="61">
                  <c:v>121</c:v>
                </c:pt>
                <c:pt idx="62">
                  <c:v>323</c:v>
                </c:pt>
                <c:pt idx="63">
                  <c:v>248</c:v>
                </c:pt>
                <c:pt idx="64">
                  <c:v>348</c:v>
                </c:pt>
                <c:pt idx="65">
                  <c:v>296</c:v>
                </c:pt>
                <c:pt idx="66">
                  <c:v>249</c:v>
                </c:pt>
                <c:pt idx="67">
                  <c:v>125</c:v>
                </c:pt>
                <c:pt idx="68">
                  <c:v>52</c:v>
                </c:pt>
                <c:pt idx="69">
                  <c:v>210</c:v>
                </c:pt>
                <c:pt idx="70">
                  <c:v>215</c:v>
                </c:pt>
                <c:pt idx="71">
                  <c:v>280</c:v>
                </c:pt>
                <c:pt idx="72">
                  <c:v>249</c:v>
                </c:pt>
                <c:pt idx="73">
                  <c:v>213</c:v>
                </c:pt>
                <c:pt idx="74">
                  <c:v>78</c:v>
                </c:pt>
                <c:pt idx="75">
                  <c:v>34</c:v>
                </c:pt>
                <c:pt idx="76">
                  <c:v>205</c:v>
                </c:pt>
                <c:pt idx="77">
                  <c:v>54</c:v>
                </c:pt>
                <c:pt idx="78">
                  <c:v>170</c:v>
                </c:pt>
                <c:pt idx="79">
                  <c:v>140</c:v>
                </c:pt>
                <c:pt idx="80">
                  <c:v>131</c:v>
                </c:pt>
                <c:pt idx="81">
                  <c:v>41</c:v>
                </c:pt>
                <c:pt idx="82">
                  <c:v>20</c:v>
                </c:pt>
                <c:pt idx="83">
                  <c:v>153</c:v>
                </c:pt>
                <c:pt idx="84">
                  <c:v>112</c:v>
                </c:pt>
                <c:pt idx="85">
                  <c:v>98</c:v>
                </c:pt>
                <c:pt idx="86">
                  <c:v>62</c:v>
                </c:pt>
                <c:pt idx="87">
                  <c:v>84</c:v>
                </c:pt>
                <c:pt idx="88">
                  <c:v>23</c:v>
                </c:pt>
                <c:pt idx="89">
                  <c:v>17</c:v>
                </c:pt>
                <c:pt idx="90">
                  <c:v>116</c:v>
                </c:pt>
                <c:pt idx="91">
                  <c:v>93</c:v>
                </c:pt>
                <c:pt idx="92">
                  <c:v>77</c:v>
                </c:pt>
                <c:pt idx="93">
                  <c:v>65</c:v>
                </c:pt>
                <c:pt idx="94">
                  <c:v>94</c:v>
                </c:pt>
                <c:pt idx="95">
                  <c:v>42</c:v>
                </c:pt>
                <c:pt idx="96">
                  <c:v>29</c:v>
                </c:pt>
                <c:pt idx="97">
                  <c:v>124</c:v>
                </c:pt>
                <c:pt idx="98">
                  <c:v>81</c:v>
                </c:pt>
                <c:pt idx="99">
                  <c:v>67</c:v>
                </c:pt>
                <c:pt idx="100">
                  <c:v>63</c:v>
                </c:pt>
                <c:pt idx="101">
                  <c:v>81</c:v>
                </c:pt>
                <c:pt idx="102">
                  <c:v>21</c:v>
                </c:pt>
                <c:pt idx="103">
                  <c:v>18</c:v>
                </c:pt>
                <c:pt idx="104">
                  <c:v>145</c:v>
                </c:pt>
                <c:pt idx="105">
                  <c:v>73</c:v>
                </c:pt>
                <c:pt idx="106">
                  <c:v>99</c:v>
                </c:pt>
                <c:pt idx="107">
                  <c:v>56</c:v>
                </c:pt>
                <c:pt idx="108">
                  <c:v>90</c:v>
                </c:pt>
                <c:pt idx="109">
                  <c:v>33</c:v>
                </c:pt>
                <c:pt idx="110">
                  <c:v>29</c:v>
                </c:pt>
                <c:pt idx="111">
                  <c:v>171</c:v>
                </c:pt>
                <c:pt idx="112">
                  <c:v>118</c:v>
                </c:pt>
                <c:pt idx="113">
                  <c:v>130</c:v>
                </c:pt>
                <c:pt idx="114">
                  <c:v>33</c:v>
                </c:pt>
                <c:pt idx="115">
                  <c:v>51</c:v>
                </c:pt>
                <c:pt idx="116">
                  <c:v>54</c:v>
                </c:pt>
                <c:pt idx="117">
                  <c:v>49</c:v>
                </c:pt>
                <c:pt idx="118">
                  <c:v>196</c:v>
                </c:pt>
                <c:pt idx="119">
                  <c:v>148</c:v>
                </c:pt>
                <c:pt idx="120">
                  <c:v>116</c:v>
                </c:pt>
                <c:pt idx="121">
                  <c:v>98</c:v>
                </c:pt>
                <c:pt idx="122">
                  <c:v>35</c:v>
                </c:pt>
                <c:pt idx="123">
                  <c:v>67</c:v>
                </c:pt>
                <c:pt idx="124">
                  <c:v>38</c:v>
                </c:pt>
                <c:pt idx="125">
                  <c:v>315</c:v>
                </c:pt>
                <c:pt idx="126">
                  <c:v>151</c:v>
                </c:pt>
                <c:pt idx="127">
                  <c:v>124</c:v>
                </c:pt>
                <c:pt idx="128">
                  <c:v>113</c:v>
                </c:pt>
                <c:pt idx="129">
                  <c:v>135</c:v>
                </c:pt>
                <c:pt idx="130">
                  <c:v>64</c:v>
                </c:pt>
                <c:pt idx="131">
                  <c:v>27</c:v>
                </c:pt>
                <c:pt idx="132">
                  <c:v>255</c:v>
                </c:pt>
                <c:pt idx="133">
                  <c:v>103</c:v>
                </c:pt>
                <c:pt idx="134">
                  <c:v>114</c:v>
                </c:pt>
                <c:pt idx="135">
                  <c:v>61</c:v>
                </c:pt>
                <c:pt idx="136">
                  <c:v>71</c:v>
                </c:pt>
                <c:pt idx="137">
                  <c:v>37</c:v>
                </c:pt>
                <c:pt idx="138">
                  <c:v>31</c:v>
                </c:pt>
                <c:pt idx="139">
                  <c:v>135</c:v>
                </c:pt>
                <c:pt idx="140">
                  <c:v>79</c:v>
                </c:pt>
                <c:pt idx="141">
                  <c:v>74</c:v>
                </c:pt>
                <c:pt idx="142">
                  <c:v>72</c:v>
                </c:pt>
                <c:pt idx="143">
                  <c:v>84</c:v>
                </c:pt>
                <c:pt idx="144">
                  <c:v>31</c:v>
                </c:pt>
                <c:pt idx="145">
                  <c:v>15</c:v>
                </c:pt>
                <c:pt idx="146">
                  <c:v>93</c:v>
                </c:pt>
                <c:pt idx="147">
                  <c:v>79</c:v>
                </c:pt>
                <c:pt idx="148">
                  <c:v>61</c:v>
                </c:pt>
                <c:pt idx="149">
                  <c:v>37</c:v>
                </c:pt>
                <c:pt idx="150">
                  <c:v>52</c:v>
                </c:pt>
                <c:pt idx="151">
                  <c:v>32</c:v>
                </c:pt>
                <c:pt idx="152">
                  <c:v>16</c:v>
                </c:pt>
                <c:pt idx="153">
                  <c:v>84</c:v>
                </c:pt>
                <c:pt idx="154">
                  <c:v>78</c:v>
                </c:pt>
                <c:pt idx="155">
                  <c:v>62</c:v>
                </c:pt>
                <c:pt idx="156">
                  <c:v>51</c:v>
                </c:pt>
                <c:pt idx="157">
                  <c:v>55</c:v>
                </c:pt>
                <c:pt idx="158">
                  <c:v>15</c:v>
                </c:pt>
                <c:pt idx="159">
                  <c:v>20</c:v>
                </c:pt>
                <c:pt idx="160">
                  <c:v>76</c:v>
                </c:pt>
                <c:pt idx="161">
                  <c:v>23</c:v>
                </c:pt>
                <c:pt idx="162">
                  <c:v>34</c:v>
                </c:pt>
                <c:pt idx="163">
                  <c:v>42</c:v>
                </c:pt>
                <c:pt idx="164">
                  <c:v>41</c:v>
                </c:pt>
                <c:pt idx="165">
                  <c:v>16</c:v>
                </c:pt>
                <c:pt idx="166">
                  <c:v>19</c:v>
                </c:pt>
                <c:pt idx="167">
                  <c:v>69</c:v>
                </c:pt>
                <c:pt idx="168">
                  <c:v>36</c:v>
                </c:pt>
                <c:pt idx="169">
                  <c:v>40</c:v>
                </c:pt>
                <c:pt idx="170">
                  <c:v>37</c:v>
                </c:pt>
                <c:pt idx="171">
                  <c:v>44</c:v>
                </c:pt>
                <c:pt idx="172">
                  <c:v>8</c:v>
                </c:pt>
                <c:pt idx="173">
                  <c:v>23</c:v>
                </c:pt>
                <c:pt idx="174">
                  <c:v>82</c:v>
                </c:pt>
                <c:pt idx="175">
                  <c:v>50</c:v>
                </c:pt>
                <c:pt idx="176">
                  <c:v>37</c:v>
                </c:pt>
                <c:pt idx="177">
                  <c:v>36</c:v>
                </c:pt>
                <c:pt idx="178">
                  <c:v>52</c:v>
                </c:pt>
                <c:pt idx="179">
                  <c:v>12</c:v>
                </c:pt>
                <c:pt idx="180">
                  <c:v>10</c:v>
                </c:pt>
                <c:pt idx="181">
                  <c:v>68</c:v>
                </c:pt>
                <c:pt idx="182">
                  <c:v>44</c:v>
                </c:pt>
                <c:pt idx="183">
                  <c:v>60</c:v>
                </c:pt>
                <c:pt idx="184">
                  <c:v>49</c:v>
                </c:pt>
                <c:pt idx="185">
                  <c:v>38</c:v>
                </c:pt>
                <c:pt idx="186">
                  <c:v>16</c:v>
                </c:pt>
                <c:pt idx="187">
                  <c:v>14</c:v>
                </c:pt>
                <c:pt idx="188">
                  <c:v>66</c:v>
                </c:pt>
                <c:pt idx="189">
                  <c:v>43</c:v>
                </c:pt>
                <c:pt idx="190">
                  <c:v>31</c:v>
                </c:pt>
                <c:pt idx="191">
                  <c:v>30</c:v>
                </c:pt>
                <c:pt idx="192">
                  <c:v>21</c:v>
                </c:pt>
                <c:pt idx="193">
                  <c:v>12</c:v>
                </c:pt>
                <c:pt idx="194">
                  <c:v>7</c:v>
                </c:pt>
                <c:pt idx="195">
                  <c:v>43</c:v>
                </c:pt>
                <c:pt idx="196">
                  <c:v>29</c:v>
                </c:pt>
                <c:pt idx="197">
                  <c:v>27</c:v>
                </c:pt>
                <c:pt idx="198">
                  <c:v>16</c:v>
                </c:pt>
                <c:pt idx="199">
                  <c:v>25</c:v>
                </c:pt>
                <c:pt idx="200">
                  <c:v>2</c:v>
                </c:pt>
                <c:pt idx="201">
                  <c:v>6</c:v>
                </c:pt>
                <c:pt idx="202">
                  <c:v>39</c:v>
                </c:pt>
                <c:pt idx="203">
                  <c:v>19</c:v>
                </c:pt>
                <c:pt idx="204">
                  <c:v>11</c:v>
                </c:pt>
                <c:pt idx="205">
                  <c:v>12</c:v>
                </c:pt>
                <c:pt idx="206">
                  <c:v>18</c:v>
                </c:pt>
                <c:pt idx="207">
                  <c:v>3</c:v>
                </c:pt>
                <c:pt idx="208">
                  <c:v>3</c:v>
                </c:pt>
                <c:pt idx="209">
                  <c:v>25</c:v>
                </c:pt>
                <c:pt idx="210">
                  <c:v>20</c:v>
                </c:pt>
                <c:pt idx="211">
                  <c:v>15</c:v>
                </c:pt>
                <c:pt idx="212">
                  <c:v>13</c:v>
                </c:pt>
                <c:pt idx="213">
                  <c:v>5</c:v>
                </c:pt>
                <c:pt idx="214">
                  <c:v>4</c:v>
                </c:pt>
                <c:pt idx="215">
                  <c:v>2</c:v>
                </c:pt>
                <c:pt idx="216">
                  <c:v>8</c:v>
                </c:pt>
                <c:pt idx="217">
                  <c:v>22</c:v>
                </c:pt>
                <c:pt idx="218">
                  <c:v>17</c:v>
                </c:pt>
                <c:pt idx="219">
                  <c:v>18</c:v>
                </c:pt>
                <c:pt idx="220">
                  <c:v>8</c:v>
                </c:pt>
                <c:pt idx="221">
                  <c:v>7</c:v>
                </c:pt>
                <c:pt idx="222">
                  <c:v>1</c:v>
                </c:pt>
                <c:pt idx="223">
                  <c:v>9</c:v>
                </c:pt>
                <c:pt idx="224">
                  <c:v>9</c:v>
                </c:pt>
                <c:pt idx="225">
                  <c:v>5</c:v>
                </c:pt>
                <c:pt idx="226">
                  <c:v>7</c:v>
                </c:pt>
                <c:pt idx="227">
                  <c:v>7</c:v>
                </c:pt>
                <c:pt idx="228">
                  <c:v>1</c:v>
                </c:pt>
                <c:pt idx="229">
                  <c:v>1</c:v>
                </c:pt>
                <c:pt idx="230">
                  <c:v>13</c:v>
                </c:pt>
                <c:pt idx="231">
                  <c:v>7</c:v>
                </c:pt>
                <c:pt idx="232">
                  <c:v>7</c:v>
                </c:pt>
                <c:pt idx="233">
                  <c:v>3</c:v>
                </c:pt>
                <c:pt idx="234">
                  <c:v>3</c:v>
                </c:pt>
                <c:pt idx="235">
                  <c:v>1</c:v>
                </c:pt>
                <c:pt idx="236">
                  <c:v>1</c:v>
                </c:pt>
                <c:pt idx="237">
                  <c:v>9</c:v>
                </c:pt>
                <c:pt idx="238">
                  <c:v>9</c:v>
                </c:pt>
                <c:pt idx="239">
                  <c:v>4</c:v>
                </c:pt>
                <c:pt idx="240">
                  <c:v>3</c:v>
                </c:pt>
                <c:pt idx="241">
                  <c:v>6</c:v>
                </c:pt>
                <c:pt idx="242">
                  <c:v>1</c:v>
                </c:pt>
                <c:pt idx="243">
                  <c:v>2</c:v>
                </c:pt>
                <c:pt idx="244">
                  <c:v>4</c:v>
                </c:pt>
                <c:pt idx="245">
                  <c:v>3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2</c:v>
                </c:pt>
                <c:pt idx="250">
                  <c:v>0</c:v>
                </c:pt>
                <c:pt idx="251">
                  <c:v>3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6</c:v>
                </c:pt>
                <c:pt idx="259">
                  <c:v>5</c:v>
                </c:pt>
                <c:pt idx="260">
                  <c:v>2</c:v>
                </c:pt>
                <c:pt idx="261">
                  <c:v>4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0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1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1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4</c:v>
                </c:pt>
                <c:pt idx="392">
                  <c:v>1</c:v>
                </c:pt>
                <c:pt idx="393">
                  <c:v>6</c:v>
                </c:pt>
                <c:pt idx="394">
                  <c:v>2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4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7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2</c:v>
                </c:pt>
                <c:pt idx="417">
                  <c:v>0</c:v>
                </c:pt>
                <c:pt idx="418">
                  <c:v>4</c:v>
                </c:pt>
                <c:pt idx="419">
                  <c:v>20</c:v>
                </c:pt>
                <c:pt idx="420">
                  <c:v>6</c:v>
                </c:pt>
                <c:pt idx="421">
                  <c:v>18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6</c:v>
                </c:pt>
                <c:pt idx="428">
                  <c:v>21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5</c:v>
                </c:pt>
                <c:pt idx="434">
                  <c:v>30</c:v>
                </c:pt>
                <c:pt idx="435">
                  <c:v>31</c:v>
                </c:pt>
                <c:pt idx="436">
                  <c:v>38</c:v>
                </c:pt>
                <c:pt idx="437">
                  <c:v>35</c:v>
                </c:pt>
                <c:pt idx="438">
                  <c:v>20</c:v>
                </c:pt>
                <c:pt idx="439">
                  <c:v>14</c:v>
                </c:pt>
                <c:pt idx="440">
                  <c:v>59</c:v>
                </c:pt>
                <c:pt idx="441">
                  <c:v>35</c:v>
                </c:pt>
                <c:pt idx="442">
                  <c:v>15</c:v>
                </c:pt>
                <c:pt idx="443">
                  <c:v>43</c:v>
                </c:pt>
                <c:pt idx="444">
                  <c:v>53</c:v>
                </c:pt>
                <c:pt idx="445">
                  <c:v>13</c:v>
                </c:pt>
                <c:pt idx="446">
                  <c:v>7</c:v>
                </c:pt>
                <c:pt idx="447">
                  <c:v>75</c:v>
                </c:pt>
                <c:pt idx="448">
                  <c:v>44</c:v>
                </c:pt>
                <c:pt idx="449">
                  <c:v>49</c:v>
                </c:pt>
                <c:pt idx="450">
                  <c:v>49</c:v>
                </c:pt>
                <c:pt idx="451">
                  <c:v>51</c:v>
                </c:pt>
                <c:pt idx="452">
                  <c:v>22</c:v>
                </c:pt>
                <c:pt idx="453">
                  <c:v>7</c:v>
                </c:pt>
                <c:pt idx="454">
                  <c:v>44</c:v>
                </c:pt>
                <c:pt idx="455">
                  <c:v>49</c:v>
                </c:pt>
                <c:pt idx="456">
                  <c:v>43</c:v>
                </c:pt>
                <c:pt idx="457">
                  <c:v>33</c:v>
                </c:pt>
                <c:pt idx="458">
                  <c:v>30</c:v>
                </c:pt>
                <c:pt idx="459">
                  <c:v>21</c:v>
                </c:pt>
                <c:pt idx="460">
                  <c:v>10</c:v>
                </c:pt>
                <c:pt idx="461">
                  <c:v>50</c:v>
                </c:pt>
                <c:pt idx="462">
                  <c:v>37</c:v>
                </c:pt>
                <c:pt idx="463">
                  <c:v>35</c:v>
                </c:pt>
                <c:pt idx="464">
                  <c:v>27</c:v>
                </c:pt>
                <c:pt idx="465">
                  <c:v>20</c:v>
                </c:pt>
                <c:pt idx="466">
                  <c:v>13</c:v>
                </c:pt>
                <c:pt idx="467">
                  <c:v>9</c:v>
                </c:pt>
                <c:pt idx="468">
                  <c:v>35</c:v>
                </c:pt>
                <c:pt idx="469">
                  <c:v>37</c:v>
                </c:pt>
                <c:pt idx="470">
                  <c:v>27</c:v>
                </c:pt>
                <c:pt idx="471">
                  <c:v>18</c:v>
                </c:pt>
                <c:pt idx="472">
                  <c:v>16</c:v>
                </c:pt>
                <c:pt idx="473">
                  <c:v>8</c:v>
                </c:pt>
                <c:pt idx="474">
                  <c:v>10</c:v>
                </c:pt>
                <c:pt idx="475">
                  <c:v>28</c:v>
                </c:pt>
                <c:pt idx="476">
                  <c:v>13</c:v>
                </c:pt>
                <c:pt idx="477">
                  <c:v>10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10</c:v>
                </c:pt>
                <c:pt idx="485">
                  <c:v>10</c:v>
                </c:pt>
                <c:pt idx="486">
                  <c:v>6</c:v>
                </c:pt>
                <c:pt idx="487">
                  <c:v>1</c:v>
                </c:pt>
                <c:pt idx="488">
                  <c:v>5</c:v>
                </c:pt>
                <c:pt idx="489">
                  <c:v>21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8</c:v>
                </c:pt>
                <c:pt idx="497">
                  <c:v>11</c:v>
                </c:pt>
                <c:pt idx="498">
                  <c:v>9</c:v>
                </c:pt>
                <c:pt idx="499">
                  <c:v>13</c:v>
                </c:pt>
                <c:pt idx="500">
                  <c:v>13</c:v>
                </c:pt>
                <c:pt idx="501">
                  <c:v>6</c:v>
                </c:pt>
                <c:pt idx="502">
                  <c:v>11</c:v>
                </c:pt>
                <c:pt idx="503">
                  <c:v>47</c:v>
                </c:pt>
                <c:pt idx="504">
                  <c:v>36</c:v>
                </c:pt>
                <c:pt idx="505">
                  <c:v>45</c:v>
                </c:pt>
                <c:pt idx="506">
                  <c:v>48</c:v>
                </c:pt>
                <c:pt idx="507">
                  <c:v>69</c:v>
                </c:pt>
                <c:pt idx="508">
                  <c:v>20</c:v>
                </c:pt>
                <c:pt idx="509">
                  <c:v>16</c:v>
                </c:pt>
                <c:pt idx="510">
                  <c:v>99</c:v>
                </c:pt>
                <c:pt idx="511">
                  <c:v>105</c:v>
                </c:pt>
                <c:pt idx="512">
                  <c:v>101</c:v>
                </c:pt>
                <c:pt idx="513">
                  <c:v>60</c:v>
                </c:pt>
                <c:pt idx="514">
                  <c:v>72</c:v>
                </c:pt>
                <c:pt idx="515">
                  <c:v>30</c:v>
                </c:pt>
                <c:pt idx="516">
                  <c:v>32</c:v>
                </c:pt>
                <c:pt idx="517">
                  <c:v>118</c:v>
                </c:pt>
                <c:pt idx="518">
                  <c:v>118</c:v>
                </c:pt>
                <c:pt idx="519">
                  <c:v>83</c:v>
                </c:pt>
                <c:pt idx="520">
                  <c:v>71</c:v>
                </c:pt>
                <c:pt idx="521">
                  <c:v>84</c:v>
                </c:pt>
                <c:pt idx="522">
                  <c:v>32</c:v>
                </c:pt>
                <c:pt idx="523">
                  <c:v>26</c:v>
                </c:pt>
                <c:pt idx="524">
                  <c:v>133</c:v>
                </c:pt>
                <c:pt idx="525">
                  <c:v>91</c:v>
                </c:pt>
                <c:pt idx="526">
                  <c:v>65</c:v>
                </c:pt>
                <c:pt idx="527">
                  <c:v>70</c:v>
                </c:pt>
                <c:pt idx="528">
                  <c:v>51</c:v>
                </c:pt>
                <c:pt idx="529">
                  <c:v>22</c:v>
                </c:pt>
                <c:pt idx="530">
                  <c:v>27</c:v>
                </c:pt>
                <c:pt idx="531">
                  <c:v>91</c:v>
                </c:pt>
                <c:pt idx="532">
                  <c:v>75</c:v>
                </c:pt>
                <c:pt idx="533">
                  <c:v>69</c:v>
                </c:pt>
                <c:pt idx="534">
                  <c:v>40</c:v>
                </c:pt>
                <c:pt idx="535">
                  <c:v>30</c:v>
                </c:pt>
                <c:pt idx="536">
                  <c:v>24</c:v>
                </c:pt>
                <c:pt idx="537">
                  <c:v>11</c:v>
                </c:pt>
                <c:pt idx="538">
                  <c:v>67</c:v>
                </c:pt>
                <c:pt idx="539">
                  <c:v>39</c:v>
                </c:pt>
                <c:pt idx="540">
                  <c:v>40</c:v>
                </c:pt>
                <c:pt idx="541">
                  <c:v>34</c:v>
                </c:pt>
                <c:pt idx="542">
                  <c:v>26</c:v>
                </c:pt>
                <c:pt idx="543" formatCode="General">
                  <c:v>11</c:v>
                </c:pt>
                <c:pt idx="544" formatCode="General">
                  <c:v>12</c:v>
                </c:pt>
                <c:pt idx="545" formatCode="General">
                  <c:v>44</c:v>
                </c:pt>
                <c:pt idx="546" formatCode="General">
                  <c:v>32</c:v>
                </c:pt>
                <c:pt idx="547" formatCode="General">
                  <c:v>25</c:v>
                </c:pt>
                <c:pt idx="548" formatCode="General">
                  <c:v>21</c:v>
                </c:pt>
                <c:pt idx="549" formatCode="General">
                  <c:v>16</c:v>
                </c:pt>
                <c:pt idx="550" formatCode="General">
                  <c:v>12</c:v>
                </c:pt>
                <c:pt idx="551" formatCode="General">
                  <c:v>5</c:v>
                </c:pt>
                <c:pt idx="552" formatCode="General">
                  <c:v>46</c:v>
                </c:pt>
                <c:pt idx="553" formatCode="General">
                  <c:v>30</c:v>
                </c:pt>
                <c:pt idx="554" formatCode="General">
                  <c:v>30</c:v>
                </c:pt>
                <c:pt idx="555" formatCode="General">
                  <c:v>17</c:v>
                </c:pt>
                <c:pt idx="556" formatCode="General">
                  <c:v>31</c:v>
                </c:pt>
                <c:pt idx="557" formatCode="General">
                  <c:v>6</c:v>
                </c:pt>
                <c:pt idx="558" formatCode="General">
                  <c:v>9</c:v>
                </c:pt>
                <c:pt idx="559" formatCode="General">
                  <c:v>42</c:v>
                </c:pt>
                <c:pt idx="560" formatCode="General">
                  <c:v>28</c:v>
                </c:pt>
                <c:pt idx="561" formatCode="General">
                  <c:v>19</c:v>
                </c:pt>
                <c:pt idx="562" formatCode="General">
                  <c:v>16</c:v>
                </c:pt>
                <c:pt idx="563" formatCode="General">
                  <c:v>26</c:v>
                </c:pt>
                <c:pt idx="564" formatCode="General">
                  <c:v>7</c:v>
                </c:pt>
                <c:pt idx="565" formatCode="General">
                  <c:v>8</c:v>
                </c:pt>
                <c:pt idx="566" formatCode="General">
                  <c:v>46</c:v>
                </c:pt>
                <c:pt idx="567" formatCode="General">
                  <c:v>31</c:v>
                </c:pt>
                <c:pt idx="568" formatCode="General">
                  <c:v>29</c:v>
                </c:pt>
                <c:pt idx="569" formatCode="General">
                  <c:v>17</c:v>
                </c:pt>
                <c:pt idx="570" formatCode="General">
                  <c:v>18</c:v>
                </c:pt>
                <c:pt idx="571" formatCode="General">
                  <c:v>1</c:v>
                </c:pt>
                <c:pt idx="572" formatCode="General">
                  <c:v>9</c:v>
                </c:pt>
                <c:pt idx="573" formatCode="General">
                  <c:v>25</c:v>
                </c:pt>
                <c:pt idx="574" formatCode="General">
                  <c:v>24</c:v>
                </c:pt>
                <c:pt idx="575" formatCode="General">
                  <c:v>20</c:v>
                </c:pt>
                <c:pt idx="576" formatCode="General">
                  <c:v>21</c:v>
                </c:pt>
                <c:pt idx="577" formatCode="General">
                  <c:v>12</c:v>
                </c:pt>
                <c:pt idx="578" formatCode="General">
                  <c:v>9</c:v>
                </c:pt>
                <c:pt idx="579" formatCode="General">
                  <c:v>1</c:v>
                </c:pt>
                <c:pt idx="580" formatCode="General">
                  <c:v>20</c:v>
                </c:pt>
                <c:pt idx="581" formatCode="General">
                  <c:v>14</c:v>
                </c:pt>
                <c:pt idx="582" formatCode="General">
                  <c:v>6</c:v>
                </c:pt>
                <c:pt idx="583" formatCode="General">
                  <c:v>7</c:v>
                </c:pt>
                <c:pt idx="584" formatCode="General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Sheet1!$B$2:$B$586</c:f>
              <c:numCache>
                <c:formatCode>#\ ##0_ ;\-#\ ##0\ </c:formatCode>
                <c:ptCount val="585"/>
                <c:pt idx="0">
                  <c:v>9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5</c:v>
                </c:pt>
                <c:pt idx="12">
                  <c:v>2</c:v>
                </c:pt>
                <c:pt idx="13">
                  <c:v>13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3</c:v>
                </c:pt>
                <c:pt idx="19">
                  <c:v>8</c:v>
                </c:pt>
                <c:pt idx="20">
                  <c:v>7</c:v>
                </c:pt>
                <c:pt idx="21">
                  <c:v>8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9</c:v>
                </c:pt>
                <c:pt idx="27">
                  <c:v>9</c:v>
                </c:pt>
                <c:pt idx="28">
                  <c:v>32</c:v>
                </c:pt>
                <c:pt idx="29">
                  <c:v>38</c:v>
                </c:pt>
                <c:pt idx="30">
                  <c:v>61</c:v>
                </c:pt>
                <c:pt idx="31">
                  <c:v>162</c:v>
                </c:pt>
                <c:pt idx="32">
                  <c:v>69</c:v>
                </c:pt>
                <c:pt idx="33">
                  <c:v>89</c:v>
                </c:pt>
                <c:pt idx="34">
                  <c:v>278</c:v>
                </c:pt>
                <c:pt idx="35">
                  <c:v>134</c:v>
                </c:pt>
                <c:pt idx="36">
                  <c:v>90</c:v>
                </c:pt>
                <c:pt idx="37">
                  <c:v>168</c:v>
                </c:pt>
                <c:pt idx="38">
                  <c:v>233</c:v>
                </c:pt>
                <c:pt idx="39">
                  <c:v>81</c:v>
                </c:pt>
                <c:pt idx="40">
                  <c:v>39</c:v>
                </c:pt>
                <c:pt idx="41">
                  <c:v>317</c:v>
                </c:pt>
                <c:pt idx="42">
                  <c:v>389</c:v>
                </c:pt>
                <c:pt idx="43">
                  <c:v>381</c:v>
                </c:pt>
                <c:pt idx="44">
                  <c:v>415</c:v>
                </c:pt>
                <c:pt idx="45">
                  <c:v>423</c:v>
                </c:pt>
                <c:pt idx="46">
                  <c:v>265</c:v>
                </c:pt>
                <c:pt idx="47">
                  <c:v>92</c:v>
                </c:pt>
                <c:pt idx="48">
                  <c:v>455</c:v>
                </c:pt>
                <c:pt idx="49">
                  <c:v>408</c:v>
                </c:pt>
                <c:pt idx="50">
                  <c:v>604</c:v>
                </c:pt>
                <c:pt idx="51">
                  <c:v>481</c:v>
                </c:pt>
                <c:pt idx="52">
                  <c:v>776</c:v>
                </c:pt>
                <c:pt idx="53">
                  <c:v>421</c:v>
                </c:pt>
                <c:pt idx="54">
                  <c:v>293</c:v>
                </c:pt>
                <c:pt idx="55">
                  <c:v>786</c:v>
                </c:pt>
                <c:pt idx="56">
                  <c:v>964</c:v>
                </c:pt>
                <c:pt idx="57">
                  <c:v>405</c:v>
                </c:pt>
                <c:pt idx="58">
                  <c:v>1037</c:v>
                </c:pt>
                <c:pt idx="59">
                  <c:v>940</c:v>
                </c:pt>
                <c:pt idx="60">
                  <c:v>526</c:v>
                </c:pt>
                <c:pt idx="61">
                  <c:v>338</c:v>
                </c:pt>
                <c:pt idx="62">
                  <c:v>663</c:v>
                </c:pt>
                <c:pt idx="63">
                  <c:v>599</c:v>
                </c:pt>
                <c:pt idx="64">
                  <c:v>775</c:v>
                </c:pt>
                <c:pt idx="65">
                  <c:v>838</c:v>
                </c:pt>
                <c:pt idx="66">
                  <c:v>752</c:v>
                </c:pt>
                <c:pt idx="67">
                  <c:v>341</c:v>
                </c:pt>
                <c:pt idx="68">
                  <c:v>135</c:v>
                </c:pt>
                <c:pt idx="69">
                  <c:v>420</c:v>
                </c:pt>
                <c:pt idx="70">
                  <c:v>602</c:v>
                </c:pt>
                <c:pt idx="71">
                  <c:v>964</c:v>
                </c:pt>
                <c:pt idx="72">
                  <c:v>755</c:v>
                </c:pt>
                <c:pt idx="73">
                  <c:v>700</c:v>
                </c:pt>
                <c:pt idx="74">
                  <c:v>264</c:v>
                </c:pt>
                <c:pt idx="75">
                  <c:v>206</c:v>
                </c:pt>
                <c:pt idx="76">
                  <c:v>598</c:v>
                </c:pt>
                <c:pt idx="77">
                  <c:v>193</c:v>
                </c:pt>
                <c:pt idx="78">
                  <c:v>445</c:v>
                </c:pt>
                <c:pt idx="79">
                  <c:v>417</c:v>
                </c:pt>
                <c:pt idx="80">
                  <c:v>377</c:v>
                </c:pt>
                <c:pt idx="81">
                  <c:v>137</c:v>
                </c:pt>
                <c:pt idx="82">
                  <c:v>113</c:v>
                </c:pt>
                <c:pt idx="83">
                  <c:v>539</c:v>
                </c:pt>
                <c:pt idx="84">
                  <c:v>314</c:v>
                </c:pt>
                <c:pt idx="85">
                  <c:v>229</c:v>
                </c:pt>
                <c:pt idx="86">
                  <c:v>262</c:v>
                </c:pt>
                <c:pt idx="87">
                  <c:v>224</c:v>
                </c:pt>
                <c:pt idx="88">
                  <c:v>103</c:v>
                </c:pt>
                <c:pt idx="89">
                  <c:v>46</c:v>
                </c:pt>
                <c:pt idx="90">
                  <c:v>330</c:v>
                </c:pt>
                <c:pt idx="91">
                  <c:v>219</c:v>
                </c:pt>
                <c:pt idx="92">
                  <c:v>213</c:v>
                </c:pt>
                <c:pt idx="93">
                  <c:v>200</c:v>
                </c:pt>
                <c:pt idx="94">
                  <c:v>245</c:v>
                </c:pt>
                <c:pt idx="95">
                  <c:v>132</c:v>
                </c:pt>
                <c:pt idx="96">
                  <c:v>52</c:v>
                </c:pt>
                <c:pt idx="97">
                  <c:v>270</c:v>
                </c:pt>
                <c:pt idx="98">
                  <c:v>174</c:v>
                </c:pt>
                <c:pt idx="99">
                  <c:v>209</c:v>
                </c:pt>
                <c:pt idx="100">
                  <c:v>148</c:v>
                </c:pt>
                <c:pt idx="101">
                  <c:v>321</c:v>
                </c:pt>
                <c:pt idx="102">
                  <c:v>88</c:v>
                </c:pt>
                <c:pt idx="103">
                  <c:v>70</c:v>
                </c:pt>
                <c:pt idx="104">
                  <c:v>295</c:v>
                </c:pt>
                <c:pt idx="105">
                  <c:v>207</c:v>
                </c:pt>
                <c:pt idx="106">
                  <c:v>199</c:v>
                </c:pt>
                <c:pt idx="107">
                  <c:v>126</c:v>
                </c:pt>
                <c:pt idx="108">
                  <c:v>314</c:v>
                </c:pt>
                <c:pt idx="109">
                  <c:v>94</c:v>
                </c:pt>
                <c:pt idx="110">
                  <c:v>51</c:v>
                </c:pt>
                <c:pt idx="111">
                  <c:v>352</c:v>
                </c:pt>
                <c:pt idx="112">
                  <c:v>298</c:v>
                </c:pt>
                <c:pt idx="113">
                  <c:v>254</c:v>
                </c:pt>
                <c:pt idx="114">
                  <c:v>52</c:v>
                </c:pt>
                <c:pt idx="115">
                  <c:v>124</c:v>
                </c:pt>
                <c:pt idx="116">
                  <c:v>134</c:v>
                </c:pt>
                <c:pt idx="117">
                  <c:v>147</c:v>
                </c:pt>
                <c:pt idx="118">
                  <c:v>363</c:v>
                </c:pt>
                <c:pt idx="119">
                  <c:v>333</c:v>
                </c:pt>
                <c:pt idx="120">
                  <c:v>264</c:v>
                </c:pt>
                <c:pt idx="121">
                  <c:v>235</c:v>
                </c:pt>
                <c:pt idx="122">
                  <c:v>102</c:v>
                </c:pt>
                <c:pt idx="123">
                  <c:v>129</c:v>
                </c:pt>
                <c:pt idx="124">
                  <c:v>81</c:v>
                </c:pt>
                <c:pt idx="125">
                  <c:v>588</c:v>
                </c:pt>
                <c:pt idx="126">
                  <c:v>307</c:v>
                </c:pt>
                <c:pt idx="127">
                  <c:v>288</c:v>
                </c:pt>
                <c:pt idx="128">
                  <c:v>349</c:v>
                </c:pt>
                <c:pt idx="129">
                  <c:v>325</c:v>
                </c:pt>
                <c:pt idx="130">
                  <c:v>130</c:v>
                </c:pt>
                <c:pt idx="131">
                  <c:v>64</c:v>
                </c:pt>
                <c:pt idx="132">
                  <c:v>500</c:v>
                </c:pt>
                <c:pt idx="133">
                  <c:v>233</c:v>
                </c:pt>
                <c:pt idx="134">
                  <c:v>289</c:v>
                </c:pt>
                <c:pt idx="135">
                  <c:v>161</c:v>
                </c:pt>
                <c:pt idx="136">
                  <c:v>163</c:v>
                </c:pt>
                <c:pt idx="137">
                  <c:v>73</c:v>
                </c:pt>
                <c:pt idx="138">
                  <c:v>80</c:v>
                </c:pt>
                <c:pt idx="139">
                  <c:v>304</c:v>
                </c:pt>
                <c:pt idx="140">
                  <c:v>163</c:v>
                </c:pt>
                <c:pt idx="141">
                  <c:v>221</c:v>
                </c:pt>
                <c:pt idx="142">
                  <c:v>181</c:v>
                </c:pt>
                <c:pt idx="143">
                  <c:v>203</c:v>
                </c:pt>
                <c:pt idx="144">
                  <c:v>85</c:v>
                </c:pt>
                <c:pt idx="145">
                  <c:v>41</c:v>
                </c:pt>
                <c:pt idx="146">
                  <c:v>181</c:v>
                </c:pt>
                <c:pt idx="147">
                  <c:v>122</c:v>
                </c:pt>
                <c:pt idx="148">
                  <c:v>158</c:v>
                </c:pt>
                <c:pt idx="149">
                  <c:v>105</c:v>
                </c:pt>
                <c:pt idx="150">
                  <c:v>91</c:v>
                </c:pt>
                <c:pt idx="151">
                  <c:v>82</c:v>
                </c:pt>
                <c:pt idx="152">
                  <c:v>26</c:v>
                </c:pt>
                <c:pt idx="153">
                  <c:v>192</c:v>
                </c:pt>
                <c:pt idx="154">
                  <c:v>176</c:v>
                </c:pt>
                <c:pt idx="155">
                  <c:v>166</c:v>
                </c:pt>
                <c:pt idx="156">
                  <c:v>138</c:v>
                </c:pt>
                <c:pt idx="157">
                  <c:v>141</c:v>
                </c:pt>
                <c:pt idx="158">
                  <c:v>59</c:v>
                </c:pt>
                <c:pt idx="159">
                  <c:v>37</c:v>
                </c:pt>
                <c:pt idx="160">
                  <c:v>143</c:v>
                </c:pt>
                <c:pt idx="161">
                  <c:v>90</c:v>
                </c:pt>
                <c:pt idx="162">
                  <c:v>102</c:v>
                </c:pt>
                <c:pt idx="163">
                  <c:v>112</c:v>
                </c:pt>
                <c:pt idx="164">
                  <c:v>93</c:v>
                </c:pt>
                <c:pt idx="165">
                  <c:v>25</c:v>
                </c:pt>
                <c:pt idx="166">
                  <c:v>33</c:v>
                </c:pt>
                <c:pt idx="167">
                  <c:v>108</c:v>
                </c:pt>
                <c:pt idx="168">
                  <c:v>56</c:v>
                </c:pt>
                <c:pt idx="169">
                  <c:v>70</c:v>
                </c:pt>
                <c:pt idx="170">
                  <c:v>68</c:v>
                </c:pt>
                <c:pt idx="171">
                  <c:v>73</c:v>
                </c:pt>
                <c:pt idx="172">
                  <c:v>27</c:v>
                </c:pt>
                <c:pt idx="173">
                  <c:v>31</c:v>
                </c:pt>
                <c:pt idx="174">
                  <c:v>176</c:v>
                </c:pt>
                <c:pt idx="175">
                  <c:v>87</c:v>
                </c:pt>
                <c:pt idx="176">
                  <c:v>73</c:v>
                </c:pt>
                <c:pt idx="177">
                  <c:v>82</c:v>
                </c:pt>
                <c:pt idx="178">
                  <c:v>101</c:v>
                </c:pt>
                <c:pt idx="179">
                  <c:v>23</c:v>
                </c:pt>
                <c:pt idx="180">
                  <c:v>13</c:v>
                </c:pt>
                <c:pt idx="181">
                  <c:v>147</c:v>
                </c:pt>
                <c:pt idx="182">
                  <c:v>73</c:v>
                </c:pt>
                <c:pt idx="183">
                  <c:v>104</c:v>
                </c:pt>
                <c:pt idx="184">
                  <c:v>60</c:v>
                </c:pt>
                <c:pt idx="185">
                  <c:v>64</c:v>
                </c:pt>
                <c:pt idx="186">
                  <c:v>21</c:v>
                </c:pt>
                <c:pt idx="187">
                  <c:v>20</c:v>
                </c:pt>
                <c:pt idx="188">
                  <c:v>94</c:v>
                </c:pt>
                <c:pt idx="189">
                  <c:v>160</c:v>
                </c:pt>
                <c:pt idx="190">
                  <c:v>110</c:v>
                </c:pt>
                <c:pt idx="191">
                  <c:v>45</c:v>
                </c:pt>
                <c:pt idx="192">
                  <c:v>55</c:v>
                </c:pt>
                <c:pt idx="193">
                  <c:v>21</c:v>
                </c:pt>
                <c:pt idx="194">
                  <c:v>14</c:v>
                </c:pt>
                <c:pt idx="195">
                  <c:v>77</c:v>
                </c:pt>
                <c:pt idx="196">
                  <c:v>52</c:v>
                </c:pt>
                <c:pt idx="197">
                  <c:v>39</c:v>
                </c:pt>
                <c:pt idx="198">
                  <c:v>53</c:v>
                </c:pt>
                <c:pt idx="199">
                  <c:v>44</c:v>
                </c:pt>
                <c:pt idx="200">
                  <c:v>12</c:v>
                </c:pt>
                <c:pt idx="201">
                  <c:v>10</c:v>
                </c:pt>
                <c:pt idx="202">
                  <c:v>52</c:v>
                </c:pt>
                <c:pt idx="203">
                  <c:v>50</c:v>
                </c:pt>
                <c:pt idx="204">
                  <c:v>35</c:v>
                </c:pt>
                <c:pt idx="205">
                  <c:v>44</c:v>
                </c:pt>
                <c:pt idx="206">
                  <c:v>26</c:v>
                </c:pt>
                <c:pt idx="207">
                  <c:v>6</c:v>
                </c:pt>
                <c:pt idx="208">
                  <c:v>7</c:v>
                </c:pt>
                <c:pt idx="209">
                  <c:v>47</c:v>
                </c:pt>
                <c:pt idx="210">
                  <c:v>33</c:v>
                </c:pt>
                <c:pt idx="211">
                  <c:v>26</c:v>
                </c:pt>
                <c:pt idx="212">
                  <c:v>24</c:v>
                </c:pt>
                <c:pt idx="213">
                  <c:v>9</c:v>
                </c:pt>
                <c:pt idx="214">
                  <c:v>8</c:v>
                </c:pt>
                <c:pt idx="215">
                  <c:v>4</c:v>
                </c:pt>
                <c:pt idx="216">
                  <c:v>9</c:v>
                </c:pt>
                <c:pt idx="217">
                  <c:v>28</c:v>
                </c:pt>
                <c:pt idx="218">
                  <c:v>36</c:v>
                </c:pt>
                <c:pt idx="219">
                  <c:v>20</c:v>
                </c:pt>
                <c:pt idx="220">
                  <c:v>11</c:v>
                </c:pt>
                <c:pt idx="221">
                  <c:v>8</c:v>
                </c:pt>
                <c:pt idx="222">
                  <c:v>1</c:v>
                </c:pt>
                <c:pt idx="223">
                  <c:v>11</c:v>
                </c:pt>
                <c:pt idx="224">
                  <c:v>13</c:v>
                </c:pt>
                <c:pt idx="225">
                  <c:v>9</c:v>
                </c:pt>
                <c:pt idx="226">
                  <c:v>11</c:v>
                </c:pt>
                <c:pt idx="227">
                  <c:v>9</c:v>
                </c:pt>
                <c:pt idx="228">
                  <c:v>2</c:v>
                </c:pt>
                <c:pt idx="229">
                  <c:v>3</c:v>
                </c:pt>
                <c:pt idx="230">
                  <c:v>20</c:v>
                </c:pt>
                <c:pt idx="231">
                  <c:v>12</c:v>
                </c:pt>
                <c:pt idx="232">
                  <c:v>11</c:v>
                </c:pt>
                <c:pt idx="233">
                  <c:v>22</c:v>
                </c:pt>
                <c:pt idx="234">
                  <c:v>11</c:v>
                </c:pt>
                <c:pt idx="235">
                  <c:v>2</c:v>
                </c:pt>
                <c:pt idx="236">
                  <c:v>1</c:v>
                </c:pt>
                <c:pt idx="237">
                  <c:v>11</c:v>
                </c:pt>
                <c:pt idx="238">
                  <c:v>13</c:v>
                </c:pt>
                <c:pt idx="239">
                  <c:v>5</c:v>
                </c:pt>
                <c:pt idx="240">
                  <c:v>5</c:v>
                </c:pt>
                <c:pt idx="241">
                  <c:v>7</c:v>
                </c:pt>
                <c:pt idx="242">
                  <c:v>1</c:v>
                </c:pt>
                <c:pt idx="243">
                  <c:v>2</c:v>
                </c:pt>
                <c:pt idx="244">
                  <c:v>6</c:v>
                </c:pt>
                <c:pt idx="245">
                  <c:v>3</c:v>
                </c:pt>
                <c:pt idx="246">
                  <c:v>4</c:v>
                </c:pt>
                <c:pt idx="247">
                  <c:v>6</c:v>
                </c:pt>
                <c:pt idx="248">
                  <c:v>4</c:v>
                </c:pt>
                <c:pt idx="249">
                  <c:v>2</c:v>
                </c:pt>
                <c:pt idx="250">
                  <c:v>4</c:v>
                </c:pt>
                <c:pt idx="251">
                  <c:v>8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6</c:v>
                </c:pt>
                <c:pt idx="256">
                  <c:v>1</c:v>
                </c:pt>
                <c:pt idx="257">
                  <c:v>0</c:v>
                </c:pt>
                <c:pt idx="258">
                  <c:v>9</c:v>
                </c:pt>
                <c:pt idx="259">
                  <c:v>5</c:v>
                </c:pt>
                <c:pt idx="260">
                  <c:v>4</c:v>
                </c:pt>
                <c:pt idx="261">
                  <c:v>4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2</c:v>
                </c:pt>
                <c:pt idx="273">
                  <c:v>0</c:v>
                </c:pt>
                <c:pt idx="274">
                  <c:v>3</c:v>
                </c:pt>
                <c:pt idx="275">
                  <c:v>3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2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2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1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7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2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6</c:v>
                </c:pt>
                <c:pt idx="392">
                  <c:v>1</c:v>
                </c:pt>
                <c:pt idx="393">
                  <c:v>7</c:v>
                </c:pt>
                <c:pt idx="394">
                  <c:v>2</c:v>
                </c:pt>
                <c:pt idx="395">
                  <c:v>2</c:v>
                </c:pt>
                <c:pt idx="396">
                  <c:v>1</c:v>
                </c:pt>
                <c:pt idx="397">
                  <c:v>1</c:v>
                </c:pt>
                <c:pt idx="398">
                  <c:v>6</c:v>
                </c:pt>
                <c:pt idx="399">
                  <c:v>7</c:v>
                </c:pt>
                <c:pt idx="400">
                  <c:v>10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4</c:v>
                </c:pt>
                <c:pt idx="407">
                  <c:v>21</c:v>
                </c:pt>
                <c:pt idx="408">
                  <c:v>6</c:v>
                </c:pt>
                <c:pt idx="409">
                  <c:v>9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7</c:v>
                </c:pt>
                <c:pt idx="417">
                  <c:v>1</c:v>
                </c:pt>
                <c:pt idx="418">
                  <c:v>5</c:v>
                </c:pt>
                <c:pt idx="419">
                  <c:v>34</c:v>
                </c:pt>
                <c:pt idx="420">
                  <c:v>15</c:v>
                </c:pt>
                <c:pt idx="421">
                  <c:v>29</c:v>
                </c:pt>
                <c:pt idx="422">
                  <c:v>3</c:v>
                </c:pt>
                <c:pt idx="423">
                  <c:v>27</c:v>
                </c:pt>
                <c:pt idx="424">
                  <c:v>12</c:v>
                </c:pt>
                <c:pt idx="425">
                  <c:v>15</c:v>
                </c:pt>
                <c:pt idx="426">
                  <c:v>77</c:v>
                </c:pt>
                <c:pt idx="427">
                  <c:v>41</c:v>
                </c:pt>
                <c:pt idx="428">
                  <c:v>37</c:v>
                </c:pt>
                <c:pt idx="429">
                  <c:v>78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5</c:v>
                </c:pt>
                <c:pt idx="434">
                  <c:v>60</c:v>
                </c:pt>
                <c:pt idx="435">
                  <c:v>47</c:v>
                </c:pt>
                <c:pt idx="436">
                  <c:v>57</c:v>
                </c:pt>
                <c:pt idx="437">
                  <c:v>52</c:v>
                </c:pt>
                <c:pt idx="438">
                  <c:v>33</c:v>
                </c:pt>
                <c:pt idx="439">
                  <c:v>29</c:v>
                </c:pt>
                <c:pt idx="440">
                  <c:v>102</c:v>
                </c:pt>
                <c:pt idx="441">
                  <c:v>67</c:v>
                </c:pt>
                <c:pt idx="442">
                  <c:v>40</c:v>
                </c:pt>
                <c:pt idx="443">
                  <c:v>99</c:v>
                </c:pt>
                <c:pt idx="444">
                  <c:v>138</c:v>
                </c:pt>
                <c:pt idx="445">
                  <c:v>39</c:v>
                </c:pt>
                <c:pt idx="446">
                  <c:v>16</c:v>
                </c:pt>
                <c:pt idx="447">
                  <c:v>125</c:v>
                </c:pt>
                <c:pt idx="448">
                  <c:v>68</c:v>
                </c:pt>
                <c:pt idx="449">
                  <c:v>91</c:v>
                </c:pt>
                <c:pt idx="450">
                  <c:v>78</c:v>
                </c:pt>
                <c:pt idx="451">
                  <c:v>104</c:v>
                </c:pt>
                <c:pt idx="452">
                  <c:v>27</c:v>
                </c:pt>
                <c:pt idx="453">
                  <c:v>14</c:v>
                </c:pt>
                <c:pt idx="454">
                  <c:v>90</c:v>
                </c:pt>
                <c:pt idx="455">
                  <c:v>65</c:v>
                </c:pt>
                <c:pt idx="456">
                  <c:v>74</c:v>
                </c:pt>
                <c:pt idx="457">
                  <c:v>64</c:v>
                </c:pt>
                <c:pt idx="458">
                  <c:v>44</c:v>
                </c:pt>
                <c:pt idx="459">
                  <c:v>59</c:v>
                </c:pt>
                <c:pt idx="460">
                  <c:v>17</c:v>
                </c:pt>
                <c:pt idx="461">
                  <c:v>82</c:v>
                </c:pt>
                <c:pt idx="462">
                  <c:v>59</c:v>
                </c:pt>
                <c:pt idx="463">
                  <c:v>53</c:v>
                </c:pt>
                <c:pt idx="464">
                  <c:v>58</c:v>
                </c:pt>
                <c:pt idx="465">
                  <c:v>50</c:v>
                </c:pt>
                <c:pt idx="466">
                  <c:v>19</c:v>
                </c:pt>
                <c:pt idx="467">
                  <c:v>10</c:v>
                </c:pt>
                <c:pt idx="468">
                  <c:v>53</c:v>
                </c:pt>
                <c:pt idx="469">
                  <c:v>64</c:v>
                </c:pt>
                <c:pt idx="470">
                  <c:v>44</c:v>
                </c:pt>
                <c:pt idx="471">
                  <c:v>26</c:v>
                </c:pt>
                <c:pt idx="472">
                  <c:v>28</c:v>
                </c:pt>
                <c:pt idx="473">
                  <c:v>10</c:v>
                </c:pt>
                <c:pt idx="474">
                  <c:v>13</c:v>
                </c:pt>
                <c:pt idx="475">
                  <c:v>44</c:v>
                </c:pt>
                <c:pt idx="476">
                  <c:v>21</c:v>
                </c:pt>
                <c:pt idx="477">
                  <c:v>13</c:v>
                </c:pt>
                <c:pt idx="478">
                  <c:v>9</c:v>
                </c:pt>
                <c:pt idx="479">
                  <c:v>8</c:v>
                </c:pt>
                <c:pt idx="480">
                  <c:v>8</c:v>
                </c:pt>
                <c:pt idx="481">
                  <c:v>5</c:v>
                </c:pt>
                <c:pt idx="482">
                  <c:v>21</c:v>
                </c:pt>
                <c:pt idx="483">
                  <c:v>24</c:v>
                </c:pt>
                <c:pt idx="484">
                  <c:v>17</c:v>
                </c:pt>
                <c:pt idx="485">
                  <c:v>12</c:v>
                </c:pt>
                <c:pt idx="486">
                  <c:v>16</c:v>
                </c:pt>
                <c:pt idx="487">
                  <c:v>4</c:v>
                </c:pt>
                <c:pt idx="488">
                  <c:v>5</c:v>
                </c:pt>
                <c:pt idx="489">
                  <c:v>25</c:v>
                </c:pt>
                <c:pt idx="490">
                  <c:v>20</c:v>
                </c:pt>
                <c:pt idx="491">
                  <c:v>12</c:v>
                </c:pt>
                <c:pt idx="492">
                  <c:v>16</c:v>
                </c:pt>
                <c:pt idx="493">
                  <c:v>17</c:v>
                </c:pt>
                <c:pt idx="494">
                  <c:v>4</c:v>
                </c:pt>
                <c:pt idx="495">
                  <c:v>5</c:v>
                </c:pt>
                <c:pt idx="496">
                  <c:v>21</c:v>
                </c:pt>
                <c:pt idx="497">
                  <c:v>19</c:v>
                </c:pt>
                <c:pt idx="498">
                  <c:v>13</c:v>
                </c:pt>
                <c:pt idx="499">
                  <c:v>16</c:v>
                </c:pt>
                <c:pt idx="500">
                  <c:v>21</c:v>
                </c:pt>
                <c:pt idx="501">
                  <c:v>7</c:v>
                </c:pt>
                <c:pt idx="502">
                  <c:v>15</c:v>
                </c:pt>
                <c:pt idx="503">
                  <c:v>68</c:v>
                </c:pt>
                <c:pt idx="504">
                  <c:v>49</c:v>
                </c:pt>
                <c:pt idx="505">
                  <c:v>56</c:v>
                </c:pt>
                <c:pt idx="506">
                  <c:v>70</c:v>
                </c:pt>
                <c:pt idx="507">
                  <c:v>85</c:v>
                </c:pt>
                <c:pt idx="508">
                  <c:v>52</c:v>
                </c:pt>
                <c:pt idx="509">
                  <c:v>22</c:v>
                </c:pt>
                <c:pt idx="510">
                  <c:v>144</c:v>
                </c:pt>
                <c:pt idx="511">
                  <c:v>143</c:v>
                </c:pt>
                <c:pt idx="512">
                  <c:v>140</c:v>
                </c:pt>
                <c:pt idx="513">
                  <c:v>85</c:v>
                </c:pt>
                <c:pt idx="514">
                  <c:v>119</c:v>
                </c:pt>
                <c:pt idx="515">
                  <c:v>34</c:v>
                </c:pt>
                <c:pt idx="516">
                  <c:v>38</c:v>
                </c:pt>
                <c:pt idx="517">
                  <c:v>160</c:v>
                </c:pt>
                <c:pt idx="518">
                  <c:v>171</c:v>
                </c:pt>
                <c:pt idx="519">
                  <c:v>116</c:v>
                </c:pt>
                <c:pt idx="520">
                  <c:v>92</c:v>
                </c:pt>
                <c:pt idx="521">
                  <c:v>141</c:v>
                </c:pt>
                <c:pt idx="522">
                  <c:v>52</c:v>
                </c:pt>
                <c:pt idx="523">
                  <c:v>41</c:v>
                </c:pt>
                <c:pt idx="524">
                  <c:v>222</c:v>
                </c:pt>
                <c:pt idx="525">
                  <c:v>142</c:v>
                </c:pt>
                <c:pt idx="526">
                  <c:v>95</c:v>
                </c:pt>
                <c:pt idx="527">
                  <c:v>111</c:v>
                </c:pt>
                <c:pt idx="528">
                  <c:v>116</c:v>
                </c:pt>
                <c:pt idx="529">
                  <c:v>42</c:v>
                </c:pt>
                <c:pt idx="530">
                  <c:v>43</c:v>
                </c:pt>
                <c:pt idx="531">
                  <c:v>152</c:v>
                </c:pt>
                <c:pt idx="532">
                  <c:v>129</c:v>
                </c:pt>
                <c:pt idx="533">
                  <c:v>119</c:v>
                </c:pt>
                <c:pt idx="534">
                  <c:v>121</c:v>
                </c:pt>
                <c:pt idx="535">
                  <c:v>68</c:v>
                </c:pt>
                <c:pt idx="536" formatCode="General">
                  <c:v>32</c:v>
                </c:pt>
                <c:pt idx="537" formatCode="General">
                  <c:v>25</c:v>
                </c:pt>
                <c:pt idx="538" formatCode="General">
                  <c:v>106</c:v>
                </c:pt>
                <c:pt idx="539" formatCode="General">
                  <c:v>101</c:v>
                </c:pt>
                <c:pt idx="540" formatCode="General">
                  <c:v>87</c:v>
                </c:pt>
                <c:pt idx="541" formatCode="General">
                  <c:v>56</c:v>
                </c:pt>
                <c:pt idx="542" formatCode="General">
                  <c:v>66</c:v>
                </c:pt>
                <c:pt idx="543" formatCode="General">
                  <c:v>22</c:v>
                </c:pt>
                <c:pt idx="544" formatCode="General">
                  <c:v>17</c:v>
                </c:pt>
                <c:pt idx="545" formatCode="General">
                  <c:v>87</c:v>
                </c:pt>
                <c:pt idx="546" formatCode="General">
                  <c:v>56</c:v>
                </c:pt>
                <c:pt idx="547" formatCode="General">
                  <c:v>59</c:v>
                </c:pt>
                <c:pt idx="548" formatCode="General">
                  <c:v>38</c:v>
                </c:pt>
                <c:pt idx="549" formatCode="General">
                  <c:v>36</c:v>
                </c:pt>
                <c:pt idx="550" formatCode="General">
                  <c:v>22</c:v>
                </c:pt>
                <c:pt idx="551" formatCode="General">
                  <c:v>12</c:v>
                </c:pt>
                <c:pt idx="552" formatCode="General">
                  <c:v>76</c:v>
                </c:pt>
                <c:pt idx="553" formatCode="General">
                  <c:v>86</c:v>
                </c:pt>
                <c:pt idx="554" formatCode="General">
                  <c:v>49</c:v>
                </c:pt>
                <c:pt idx="555" formatCode="General">
                  <c:v>43</c:v>
                </c:pt>
                <c:pt idx="556" formatCode="General">
                  <c:v>49</c:v>
                </c:pt>
                <c:pt idx="557" formatCode="General">
                  <c:v>8</c:v>
                </c:pt>
                <c:pt idx="558" formatCode="General">
                  <c:v>12</c:v>
                </c:pt>
                <c:pt idx="559" formatCode="General">
                  <c:v>63</c:v>
                </c:pt>
                <c:pt idx="560" formatCode="General">
                  <c:v>44</c:v>
                </c:pt>
                <c:pt idx="561" formatCode="General">
                  <c:v>47</c:v>
                </c:pt>
                <c:pt idx="562" formatCode="General">
                  <c:v>31</c:v>
                </c:pt>
                <c:pt idx="563" formatCode="General">
                  <c:v>44</c:v>
                </c:pt>
                <c:pt idx="564" formatCode="General">
                  <c:v>12</c:v>
                </c:pt>
                <c:pt idx="565" formatCode="General">
                  <c:v>13</c:v>
                </c:pt>
                <c:pt idx="566" formatCode="General">
                  <c:v>70</c:v>
                </c:pt>
                <c:pt idx="567" formatCode="General">
                  <c:v>55</c:v>
                </c:pt>
                <c:pt idx="568" formatCode="General">
                  <c:v>51</c:v>
                </c:pt>
                <c:pt idx="569" formatCode="General">
                  <c:v>42</c:v>
                </c:pt>
                <c:pt idx="570" formatCode="General">
                  <c:v>42</c:v>
                </c:pt>
                <c:pt idx="571" formatCode="General">
                  <c:v>8</c:v>
                </c:pt>
                <c:pt idx="572" formatCode="General">
                  <c:v>14</c:v>
                </c:pt>
                <c:pt idx="573" formatCode="General">
                  <c:v>44</c:v>
                </c:pt>
                <c:pt idx="574" formatCode="General">
                  <c:v>33</c:v>
                </c:pt>
                <c:pt idx="575" formatCode="General">
                  <c:v>41</c:v>
                </c:pt>
                <c:pt idx="576" formatCode="General">
                  <c:v>27</c:v>
                </c:pt>
                <c:pt idx="577" formatCode="General">
                  <c:v>36</c:v>
                </c:pt>
                <c:pt idx="578" formatCode="General">
                  <c:v>20</c:v>
                </c:pt>
                <c:pt idx="579" formatCode="General">
                  <c:v>3</c:v>
                </c:pt>
                <c:pt idx="580" formatCode="General">
                  <c:v>42</c:v>
                </c:pt>
                <c:pt idx="581" formatCode="General">
                  <c:v>31</c:v>
                </c:pt>
                <c:pt idx="582" formatCode="General">
                  <c:v>15</c:v>
                </c:pt>
                <c:pt idx="583" formatCode="General">
                  <c:v>8</c:v>
                </c:pt>
                <c:pt idx="584" formatCode="General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11505068434053E-2"/>
          <c:y val="2.6442228452657451E-2"/>
          <c:w val="0.92286884437605277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86</c:f>
              <c:numCache>
                <c:formatCode>m/d/yyyy</c:formatCode>
                <c:ptCount val="58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</c:numCache>
            </c:numRef>
          </c:cat>
          <c:val>
            <c:numRef>
              <c:f>Sheet1!$B$2:$B$586</c:f>
              <c:numCache>
                <c:formatCode>#\ ##0_ ;\-#\ ##0\ </c:formatCode>
                <c:ptCount val="58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1</c:v>
                </c:pt>
                <c:pt idx="57">
                  <c:v>27</c:v>
                </c:pt>
                <c:pt idx="58">
                  <c:v>46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3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2</c:v>
                </c:pt>
                <c:pt idx="72">
                  <c:v>48</c:v>
                </c:pt>
                <c:pt idx="73">
                  <c:v>47</c:v>
                </c:pt>
                <c:pt idx="74">
                  <c:v>37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6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6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5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5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7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7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9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3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4</c:v>
                </c:pt>
                <c:pt idx="457">
                  <c:v>0</c:v>
                </c:pt>
                <c:pt idx="458">
                  <c:v>0</c:v>
                </c:pt>
                <c:pt idx="459">
                  <c:v>2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1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1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  <c:pt idx="515">
                  <c:v>2</c:v>
                </c:pt>
                <c:pt idx="516">
                  <c:v>1</c:v>
                </c:pt>
                <c:pt idx="517">
                  <c:v>1</c:v>
                </c:pt>
                <c:pt idx="518">
                  <c:v>5</c:v>
                </c:pt>
                <c:pt idx="519">
                  <c:v>2</c:v>
                </c:pt>
                <c:pt idx="520">
                  <c:v>2</c:v>
                </c:pt>
                <c:pt idx="521">
                  <c:v>1</c:v>
                </c:pt>
                <c:pt idx="522">
                  <c:v>4</c:v>
                </c:pt>
                <c:pt idx="523">
                  <c:v>0</c:v>
                </c:pt>
                <c:pt idx="524">
                  <c:v>3</c:v>
                </c:pt>
                <c:pt idx="525">
                  <c:v>3</c:v>
                </c:pt>
                <c:pt idx="526">
                  <c:v>2</c:v>
                </c:pt>
                <c:pt idx="527">
                  <c:v>1</c:v>
                </c:pt>
                <c:pt idx="528">
                  <c:v>2</c:v>
                </c:pt>
                <c:pt idx="529">
                  <c:v>3</c:v>
                </c:pt>
                <c:pt idx="530">
                  <c:v>1</c:v>
                </c:pt>
                <c:pt idx="531">
                  <c:v>3</c:v>
                </c:pt>
                <c:pt idx="532">
                  <c:v>3</c:v>
                </c:pt>
                <c:pt idx="533">
                  <c:v>2</c:v>
                </c:pt>
                <c:pt idx="534">
                  <c:v>2</c:v>
                </c:pt>
                <c:pt idx="535">
                  <c:v>3</c:v>
                </c:pt>
                <c:pt idx="536">
                  <c:v>1</c:v>
                </c:pt>
                <c:pt idx="537">
                  <c:v>4</c:v>
                </c:pt>
                <c:pt idx="538">
                  <c:v>5</c:v>
                </c:pt>
                <c:pt idx="539">
                  <c:v>2</c:v>
                </c:pt>
                <c:pt idx="540">
                  <c:v>2</c:v>
                </c:pt>
                <c:pt idx="541">
                  <c:v>2</c:v>
                </c:pt>
                <c:pt idx="542">
                  <c:v>3</c:v>
                </c:pt>
                <c:pt idx="543">
                  <c:v>2</c:v>
                </c:pt>
                <c:pt idx="544">
                  <c:v>1</c:v>
                </c:pt>
                <c:pt idx="545">
                  <c:v>3</c:v>
                </c:pt>
                <c:pt idx="546">
                  <c:v>3</c:v>
                </c:pt>
                <c:pt idx="547">
                  <c:v>3</c:v>
                </c:pt>
                <c:pt idx="548">
                  <c:v>4</c:v>
                </c:pt>
                <c:pt idx="549">
                  <c:v>3</c:v>
                </c:pt>
                <c:pt idx="550">
                  <c:v>1</c:v>
                </c:pt>
                <c:pt idx="551" formatCode="General">
                  <c:v>1</c:v>
                </c:pt>
                <c:pt idx="552" formatCode="General">
                  <c:v>1</c:v>
                </c:pt>
                <c:pt idx="553" formatCode="General">
                  <c:v>5</c:v>
                </c:pt>
                <c:pt idx="554" formatCode="General">
                  <c:v>3</c:v>
                </c:pt>
                <c:pt idx="555" formatCode="General">
                  <c:v>5</c:v>
                </c:pt>
                <c:pt idx="556" formatCode="General">
                  <c:v>1</c:v>
                </c:pt>
                <c:pt idx="557" formatCode="General">
                  <c:v>1</c:v>
                </c:pt>
                <c:pt idx="558" formatCode="General">
                  <c:v>1</c:v>
                </c:pt>
                <c:pt idx="559" formatCode="General">
                  <c:v>1</c:v>
                </c:pt>
                <c:pt idx="560" formatCode="General">
                  <c:v>3</c:v>
                </c:pt>
                <c:pt idx="561" formatCode="General">
                  <c:v>1</c:v>
                </c:pt>
                <c:pt idx="562" formatCode="General">
                  <c:v>0</c:v>
                </c:pt>
                <c:pt idx="563" formatCode="General">
                  <c:v>1</c:v>
                </c:pt>
                <c:pt idx="564" formatCode="General">
                  <c:v>1</c:v>
                </c:pt>
                <c:pt idx="565" formatCode="General">
                  <c:v>2</c:v>
                </c:pt>
                <c:pt idx="566" formatCode="General">
                  <c:v>0</c:v>
                </c:pt>
                <c:pt idx="567" formatCode="General">
                  <c:v>0</c:v>
                </c:pt>
                <c:pt idx="568" formatCode="General">
                  <c:v>2</c:v>
                </c:pt>
                <c:pt idx="569" formatCode="General">
                  <c:v>2</c:v>
                </c:pt>
                <c:pt idx="570" formatCode="General">
                  <c:v>0</c:v>
                </c:pt>
                <c:pt idx="571" formatCode="General">
                  <c:v>2</c:v>
                </c:pt>
                <c:pt idx="572" formatCode="General">
                  <c:v>0</c:v>
                </c:pt>
                <c:pt idx="573" formatCode="General">
                  <c:v>2</c:v>
                </c:pt>
                <c:pt idx="574" formatCode="General">
                  <c:v>0</c:v>
                </c:pt>
                <c:pt idx="575" formatCode="General">
                  <c:v>3</c:v>
                </c:pt>
                <c:pt idx="576" formatCode="General">
                  <c:v>0</c:v>
                </c:pt>
                <c:pt idx="577" formatCode="General">
                  <c:v>0</c:v>
                </c:pt>
                <c:pt idx="578" formatCode="General">
                  <c:v>1</c:v>
                </c:pt>
                <c:pt idx="579" formatCode="General">
                  <c:v>0</c:v>
                </c:pt>
                <c:pt idx="580" formatCode="General">
                  <c:v>1</c:v>
                </c:pt>
                <c:pt idx="581" formatCode="General">
                  <c:v>0</c:v>
                </c:pt>
                <c:pt idx="582" formatCode="General">
                  <c:v>0</c:v>
                </c:pt>
                <c:pt idx="583" formatCode="General">
                  <c:v>0</c:v>
                </c:pt>
                <c:pt idx="584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7</c:f>
              <c:numCache>
                <c:formatCode>m/d/yyyy</c:formatCode>
                <c:ptCount val="506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1</c:v>
                </c:pt>
                <c:pt idx="233">
                  <c:v>44312</c:v>
                </c:pt>
                <c:pt idx="234">
                  <c:v>44313</c:v>
                </c:pt>
                <c:pt idx="235">
                  <c:v>44314</c:v>
                </c:pt>
                <c:pt idx="236">
                  <c:v>44315</c:v>
                </c:pt>
                <c:pt idx="237">
                  <c:v>44316</c:v>
                </c:pt>
                <c:pt idx="238">
                  <c:v>44317</c:v>
                </c:pt>
                <c:pt idx="239">
                  <c:v>44318</c:v>
                </c:pt>
                <c:pt idx="240">
                  <c:v>44319</c:v>
                </c:pt>
                <c:pt idx="241">
                  <c:v>44320</c:v>
                </c:pt>
                <c:pt idx="242">
                  <c:v>44321</c:v>
                </c:pt>
                <c:pt idx="243">
                  <c:v>44322</c:v>
                </c:pt>
                <c:pt idx="244">
                  <c:v>44323</c:v>
                </c:pt>
                <c:pt idx="245">
                  <c:v>44324</c:v>
                </c:pt>
                <c:pt idx="246">
                  <c:v>44325</c:v>
                </c:pt>
                <c:pt idx="247">
                  <c:v>44326</c:v>
                </c:pt>
                <c:pt idx="248">
                  <c:v>44327</c:v>
                </c:pt>
                <c:pt idx="249">
                  <c:v>44329</c:v>
                </c:pt>
                <c:pt idx="250">
                  <c:v>44330</c:v>
                </c:pt>
                <c:pt idx="251">
                  <c:v>44331</c:v>
                </c:pt>
                <c:pt idx="252">
                  <c:v>44333</c:v>
                </c:pt>
                <c:pt idx="253">
                  <c:v>44334</c:v>
                </c:pt>
                <c:pt idx="254">
                  <c:v>44335</c:v>
                </c:pt>
                <c:pt idx="255">
                  <c:v>44336</c:v>
                </c:pt>
                <c:pt idx="256">
                  <c:v>44337</c:v>
                </c:pt>
                <c:pt idx="257">
                  <c:v>44340</c:v>
                </c:pt>
                <c:pt idx="258">
                  <c:v>44341</c:v>
                </c:pt>
                <c:pt idx="259">
                  <c:v>44342</c:v>
                </c:pt>
                <c:pt idx="260">
                  <c:v>44343</c:v>
                </c:pt>
                <c:pt idx="261">
                  <c:v>44347</c:v>
                </c:pt>
                <c:pt idx="262">
                  <c:v>44349</c:v>
                </c:pt>
                <c:pt idx="263">
                  <c:v>44350</c:v>
                </c:pt>
                <c:pt idx="264">
                  <c:v>44354</c:v>
                </c:pt>
                <c:pt idx="265">
                  <c:v>44358</c:v>
                </c:pt>
                <c:pt idx="266">
                  <c:v>44359</c:v>
                </c:pt>
                <c:pt idx="267">
                  <c:v>44364</c:v>
                </c:pt>
                <c:pt idx="268">
                  <c:v>44370</c:v>
                </c:pt>
                <c:pt idx="269">
                  <c:v>44371</c:v>
                </c:pt>
                <c:pt idx="270">
                  <c:v>44372</c:v>
                </c:pt>
                <c:pt idx="271">
                  <c:v>44375</c:v>
                </c:pt>
                <c:pt idx="272">
                  <c:v>44377</c:v>
                </c:pt>
                <c:pt idx="273">
                  <c:v>44378</c:v>
                </c:pt>
                <c:pt idx="274">
                  <c:v>44381</c:v>
                </c:pt>
                <c:pt idx="275">
                  <c:v>44383</c:v>
                </c:pt>
                <c:pt idx="276">
                  <c:v>44384</c:v>
                </c:pt>
                <c:pt idx="277">
                  <c:v>44385</c:v>
                </c:pt>
                <c:pt idx="278">
                  <c:v>44388</c:v>
                </c:pt>
                <c:pt idx="279">
                  <c:v>44398</c:v>
                </c:pt>
                <c:pt idx="280">
                  <c:v>44401</c:v>
                </c:pt>
                <c:pt idx="281">
                  <c:v>44404</c:v>
                </c:pt>
                <c:pt idx="282">
                  <c:v>44405</c:v>
                </c:pt>
                <c:pt idx="283">
                  <c:v>44407</c:v>
                </c:pt>
                <c:pt idx="284">
                  <c:v>44416</c:v>
                </c:pt>
                <c:pt idx="285">
                  <c:v>44419</c:v>
                </c:pt>
                <c:pt idx="286">
                  <c:v>44423</c:v>
                </c:pt>
                <c:pt idx="287">
                  <c:v>44424</c:v>
                </c:pt>
                <c:pt idx="288">
                  <c:v>44425</c:v>
                </c:pt>
                <c:pt idx="289">
                  <c:v>44427</c:v>
                </c:pt>
                <c:pt idx="290">
                  <c:v>44431</c:v>
                </c:pt>
                <c:pt idx="291">
                  <c:v>44434</c:v>
                </c:pt>
                <c:pt idx="292">
                  <c:v>44435</c:v>
                </c:pt>
                <c:pt idx="293">
                  <c:v>44436</c:v>
                </c:pt>
                <c:pt idx="294">
                  <c:v>44437</c:v>
                </c:pt>
                <c:pt idx="295">
                  <c:v>44440</c:v>
                </c:pt>
                <c:pt idx="296">
                  <c:v>44441</c:v>
                </c:pt>
                <c:pt idx="297">
                  <c:v>44442</c:v>
                </c:pt>
                <c:pt idx="298">
                  <c:v>44443</c:v>
                </c:pt>
                <c:pt idx="299">
                  <c:v>44445</c:v>
                </c:pt>
                <c:pt idx="300">
                  <c:v>44446</c:v>
                </c:pt>
                <c:pt idx="301">
                  <c:v>44447</c:v>
                </c:pt>
                <c:pt idx="302">
                  <c:v>44448</c:v>
                </c:pt>
                <c:pt idx="303">
                  <c:v>44449</c:v>
                </c:pt>
                <c:pt idx="304">
                  <c:v>44451</c:v>
                </c:pt>
                <c:pt idx="305">
                  <c:v>44452</c:v>
                </c:pt>
                <c:pt idx="306">
                  <c:v>44453</c:v>
                </c:pt>
                <c:pt idx="307">
                  <c:v>44457</c:v>
                </c:pt>
                <c:pt idx="308">
                  <c:v>44459</c:v>
                </c:pt>
                <c:pt idx="309">
                  <c:v>44460</c:v>
                </c:pt>
                <c:pt idx="310">
                  <c:v>44461</c:v>
                </c:pt>
                <c:pt idx="311">
                  <c:v>44464</c:v>
                </c:pt>
                <c:pt idx="312">
                  <c:v>44465</c:v>
                </c:pt>
                <c:pt idx="313">
                  <c:v>44466</c:v>
                </c:pt>
                <c:pt idx="314">
                  <c:v>44467</c:v>
                </c:pt>
                <c:pt idx="315">
                  <c:v>44468</c:v>
                </c:pt>
                <c:pt idx="316">
                  <c:v>44469</c:v>
                </c:pt>
                <c:pt idx="317">
                  <c:v>44470</c:v>
                </c:pt>
                <c:pt idx="318">
                  <c:v>44471</c:v>
                </c:pt>
                <c:pt idx="319">
                  <c:v>44472</c:v>
                </c:pt>
                <c:pt idx="320">
                  <c:v>44473</c:v>
                </c:pt>
                <c:pt idx="321">
                  <c:v>44474</c:v>
                </c:pt>
                <c:pt idx="322">
                  <c:v>44475</c:v>
                </c:pt>
                <c:pt idx="323">
                  <c:v>44476</c:v>
                </c:pt>
                <c:pt idx="324">
                  <c:v>44477</c:v>
                </c:pt>
                <c:pt idx="325">
                  <c:v>44478</c:v>
                </c:pt>
                <c:pt idx="326">
                  <c:v>44480</c:v>
                </c:pt>
                <c:pt idx="327">
                  <c:v>44481</c:v>
                </c:pt>
                <c:pt idx="328">
                  <c:v>44482</c:v>
                </c:pt>
                <c:pt idx="329">
                  <c:v>44483</c:v>
                </c:pt>
                <c:pt idx="330">
                  <c:v>44484</c:v>
                </c:pt>
                <c:pt idx="331">
                  <c:v>44485</c:v>
                </c:pt>
                <c:pt idx="332">
                  <c:v>44486</c:v>
                </c:pt>
                <c:pt idx="333">
                  <c:v>44487</c:v>
                </c:pt>
                <c:pt idx="334">
                  <c:v>44488</c:v>
                </c:pt>
                <c:pt idx="335">
                  <c:v>44489</c:v>
                </c:pt>
                <c:pt idx="336">
                  <c:v>44490</c:v>
                </c:pt>
                <c:pt idx="337">
                  <c:v>44491</c:v>
                </c:pt>
                <c:pt idx="338">
                  <c:v>44492</c:v>
                </c:pt>
                <c:pt idx="339">
                  <c:v>44493</c:v>
                </c:pt>
                <c:pt idx="340">
                  <c:v>44494</c:v>
                </c:pt>
                <c:pt idx="341">
                  <c:v>44495</c:v>
                </c:pt>
                <c:pt idx="342">
                  <c:v>44496</c:v>
                </c:pt>
                <c:pt idx="343">
                  <c:v>44497</c:v>
                </c:pt>
                <c:pt idx="344">
                  <c:v>44498</c:v>
                </c:pt>
                <c:pt idx="345">
                  <c:v>44499</c:v>
                </c:pt>
                <c:pt idx="346">
                  <c:v>44500</c:v>
                </c:pt>
                <c:pt idx="347">
                  <c:v>44501</c:v>
                </c:pt>
                <c:pt idx="348">
                  <c:v>44502</c:v>
                </c:pt>
                <c:pt idx="349">
                  <c:v>44503</c:v>
                </c:pt>
                <c:pt idx="350">
                  <c:v>44504</c:v>
                </c:pt>
                <c:pt idx="351">
                  <c:v>44505</c:v>
                </c:pt>
                <c:pt idx="352">
                  <c:v>44506</c:v>
                </c:pt>
                <c:pt idx="353">
                  <c:v>44507</c:v>
                </c:pt>
                <c:pt idx="354">
                  <c:v>44508</c:v>
                </c:pt>
                <c:pt idx="355">
                  <c:v>44509</c:v>
                </c:pt>
                <c:pt idx="356">
                  <c:v>44510</c:v>
                </c:pt>
                <c:pt idx="357">
                  <c:v>44511</c:v>
                </c:pt>
                <c:pt idx="358">
                  <c:v>44512</c:v>
                </c:pt>
                <c:pt idx="359">
                  <c:v>44513</c:v>
                </c:pt>
                <c:pt idx="360">
                  <c:v>44514</c:v>
                </c:pt>
                <c:pt idx="361">
                  <c:v>44515</c:v>
                </c:pt>
                <c:pt idx="362">
                  <c:v>44516</c:v>
                </c:pt>
                <c:pt idx="363">
                  <c:v>44517</c:v>
                </c:pt>
                <c:pt idx="364">
                  <c:v>44518</c:v>
                </c:pt>
                <c:pt idx="365">
                  <c:v>44519</c:v>
                </c:pt>
                <c:pt idx="366">
                  <c:v>44520</c:v>
                </c:pt>
                <c:pt idx="367">
                  <c:v>44521</c:v>
                </c:pt>
                <c:pt idx="368">
                  <c:v>44522</c:v>
                </c:pt>
                <c:pt idx="369">
                  <c:v>44523</c:v>
                </c:pt>
                <c:pt idx="370">
                  <c:v>44524</c:v>
                </c:pt>
                <c:pt idx="371">
                  <c:v>44525</c:v>
                </c:pt>
                <c:pt idx="372">
                  <c:v>44526</c:v>
                </c:pt>
                <c:pt idx="373">
                  <c:v>44527</c:v>
                </c:pt>
                <c:pt idx="374">
                  <c:v>44528</c:v>
                </c:pt>
                <c:pt idx="375">
                  <c:v>44529</c:v>
                </c:pt>
                <c:pt idx="376">
                  <c:v>44530</c:v>
                </c:pt>
                <c:pt idx="377">
                  <c:v>44531</c:v>
                </c:pt>
                <c:pt idx="378">
                  <c:v>44532</c:v>
                </c:pt>
                <c:pt idx="379">
                  <c:v>44533</c:v>
                </c:pt>
                <c:pt idx="380">
                  <c:v>44534</c:v>
                </c:pt>
                <c:pt idx="381">
                  <c:v>44535</c:v>
                </c:pt>
                <c:pt idx="382">
                  <c:v>44536</c:v>
                </c:pt>
                <c:pt idx="383">
                  <c:v>44537</c:v>
                </c:pt>
                <c:pt idx="384">
                  <c:v>44538</c:v>
                </c:pt>
                <c:pt idx="385">
                  <c:v>44539</c:v>
                </c:pt>
                <c:pt idx="386">
                  <c:v>44540</c:v>
                </c:pt>
                <c:pt idx="387">
                  <c:v>44541</c:v>
                </c:pt>
                <c:pt idx="388">
                  <c:v>44542</c:v>
                </c:pt>
                <c:pt idx="389">
                  <c:v>44543</c:v>
                </c:pt>
                <c:pt idx="390">
                  <c:v>44544</c:v>
                </c:pt>
                <c:pt idx="391">
                  <c:v>44545</c:v>
                </c:pt>
                <c:pt idx="392">
                  <c:v>44546</c:v>
                </c:pt>
                <c:pt idx="393">
                  <c:v>44547</c:v>
                </c:pt>
                <c:pt idx="394">
                  <c:v>44548</c:v>
                </c:pt>
                <c:pt idx="395">
                  <c:v>44549</c:v>
                </c:pt>
                <c:pt idx="396">
                  <c:v>44550</c:v>
                </c:pt>
                <c:pt idx="397">
                  <c:v>44551</c:v>
                </c:pt>
                <c:pt idx="398">
                  <c:v>44552</c:v>
                </c:pt>
                <c:pt idx="399">
                  <c:v>44553</c:v>
                </c:pt>
                <c:pt idx="400">
                  <c:v>44554</c:v>
                </c:pt>
                <c:pt idx="401">
                  <c:v>44555</c:v>
                </c:pt>
                <c:pt idx="402">
                  <c:v>44556</c:v>
                </c:pt>
                <c:pt idx="403">
                  <c:v>44557</c:v>
                </c:pt>
                <c:pt idx="404">
                  <c:v>44558</c:v>
                </c:pt>
                <c:pt idx="405">
                  <c:v>44559</c:v>
                </c:pt>
                <c:pt idx="406">
                  <c:v>44560</c:v>
                </c:pt>
                <c:pt idx="407">
                  <c:v>44561</c:v>
                </c:pt>
                <c:pt idx="408">
                  <c:v>44562</c:v>
                </c:pt>
                <c:pt idx="409">
                  <c:v>44563</c:v>
                </c:pt>
                <c:pt idx="410">
                  <c:v>44564</c:v>
                </c:pt>
                <c:pt idx="411">
                  <c:v>44565</c:v>
                </c:pt>
                <c:pt idx="412">
                  <c:v>44566</c:v>
                </c:pt>
                <c:pt idx="413">
                  <c:v>44567</c:v>
                </c:pt>
                <c:pt idx="414">
                  <c:v>44568</c:v>
                </c:pt>
                <c:pt idx="415">
                  <c:v>44569</c:v>
                </c:pt>
                <c:pt idx="416">
                  <c:v>44570</c:v>
                </c:pt>
                <c:pt idx="417">
                  <c:v>44571</c:v>
                </c:pt>
                <c:pt idx="418">
                  <c:v>44572</c:v>
                </c:pt>
                <c:pt idx="419">
                  <c:v>44573</c:v>
                </c:pt>
                <c:pt idx="420">
                  <c:v>44574</c:v>
                </c:pt>
                <c:pt idx="421">
                  <c:v>44575</c:v>
                </c:pt>
                <c:pt idx="422">
                  <c:v>44576</c:v>
                </c:pt>
                <c:pt idx="423">
                  <c:v>44577</c:v>
                </c:pt>
                <c:pt idx="424">
                  <c:v>44578</c:v>
                </c:pt>
                <c:pt idx="425">
                  <c:v>44579</c:v>
                </c:pt>
                <c:pt idx="426">
                  <c:v>44580</c:v>
                </c:pt>
                <c:pt idx="427">
                  <c:v>44581</c:v>
                </c:pt>
                <c:pt idx="428">
                  <c:v>44582</c:v>
                </c:pt>
                <c:pt idx="429">
                  <c:v>44583</c:v>
                </c:pt>
                <c:pt idx="430">
                  <c:v>44584</c:v>
                </c:pt>
                <c:pt idx="431">
                  <c:v>44585</c:v>
                </c:pt>
                <c:pt idx="432">
                  <c:v>44586</c:v>
                </c:pt>
                <c:pt idx="433">
                  <c:v>44587</c:v>
                </c:pt>
                <c:pt idx="434">
                  <c:v>44588</c:v>
                </c:pt>
                <c:pt idx="435">
                  <c:v>44589</c:v>
                </c:pt>
                <c:pt idx="436">
                  <c:v>44590</c:v>
                </c:pt>
                <c:pt idx="437">
                  <c:v>44591</c:v>
                </c:pt>
                <c:pt idx="438">
                  <c:v>44592</c:v>
                </c:pt>
                <c:pt idx="439">
                  <c:v>44593</c:v>
                </c:pt>
                <c:pt idx="440">
                  <c:v>44594</c:v>
                </c:pt>
                <c:pt idx="441">
                  <c:v>44595</c:v>
                </c:pt>
                <c:pt idx="442">
                  <c:v>44596</c:v>
                </c:pt>
                <c:pt idx="443">
                  <c:v>44597</c:v>
                </c:pt>
                <c:pt idx="444">
                  <c:v>44598</c:v>
                </c:pt>
                <c:pt idx="445">
                  <c:v>44599</c:v>
                </c:pt>
                <c:pt idx="446">
                  <c:v>44600</c:v>
                </c:pt>
                <c:pt idx="447">
                  <c:v>44601</c:v>
                </c:pt>
                <c:pt idx="448">
                  <c:v>44602</c:v>
                </c:pt>
                <c:pt idx="449">
                  <c:v>44603</c:v>
                </c:pt>
                <c:pt idx="450">
                  <c:v>44604</c:v>
                </c:pt>
                <c:pt idx="451">
                  <c:v>44605</c:v>
                </c:pt>
                <c:pt idx="452">
                  <c:v>44606</c:v>
                </c:pt>
                <c:pt idx="453">
                  <c:v>44607</c:v>
                </c:pt>
                <c:pt idx="454">
                  <c:v>44608</c:v>
                </c:pt>
                <c:pt idx="455">
                  <c:v>44609</c:v>
                </c:pt>
                <c:pt idx="456">
                  <c:v>44610</c:v>
                </c:pt>
                <c:pt idx="457">
                  <c:v>44611</c:v>
                </c:pt>
                <c:pt idx="458">
                  <c:v>44612</c:v>
                </c:pt>
                <c:pt idx="459">
                  <c:v>44613</c:v>
                </c:pt>
                <c:pt idx="460">
                  <c:v>44614</c:v>
                </c:pt>
                <c:pt idx="461">
                  <c:v>44615</c:v>
                </c:pt>
                <c:pt idx="462">
                  <c:v>44616</c:v>
                </c:pt>
                <c:pt idx="463">
                  <c:v>44617</c:v>
                </c:pt>
                <c:pt idx="464">
                  <c:v>44618</c:v>
                </c:pt>
                <c:pt idx="465">
                  <c:v>44619</c:v>
                </c:pt>
                <c:pt idx="466">
                  <c:v>44620</c:v>
                </c:pt>
                <c:pt idx="467">
                  <c:v>44621</c:v>
                </c:pt>
                <c:pt idx="468">
                  <c:v>44622</c:v>
                </c:pt>
                <c:pt idx="469">
                  <c:v>44623</c:v>
                </c:pt>
                <c:pt idx="470">
                  <c:v>44624</c:v>
                </c:pt>
                <c:pt idx="471">
                  <c:v>44625</c:v>
                </c:pt>
                <c:pt idx="472">
                  <c:v>44626</c:v>
                </c:pt>
                <c:pt idx="473">
                  <c:v>44627</c:v>
                </c:pt>
                <c:pt idx="474">
                  <c:v>44628</c:v>
                </c:pt>
                <c:pt idx="475">
                  <c:v>44629</c:v>
                </c:pt>
                <c:pt idx="476">
                  <c:v>44630</c:v>
                </c:pt>
                <c:pt idx="477">
                  <c:v>44631</c:v>
                </c:pt>
                <c:pt idx="478">
                  <c:v>44632</c:v>
                </c:pt>
                <c:pt idx="479">
                  <c:v>44633</c:v>
                </c:pt>
                <c:pt idx="480">
                  <c:v>44634</c:v>
                </c:pt>
                <c:pt idx="481">
                  <c:v>44635</c:v>
                </c:pt>
                <c:pt idx="482">
                  <c:v>44636</c:v>
                </c:pt>
                <c:pt idx="483">
                  <c:v>44637</c:v>
                </c:pt>
                <c:pt idx="484">
                  <c:v>44638</c:v>
                </c:pt>
                <c:pt idx="485">
                  <c:v>44639</c:v>
                </c:pt>
                <c:pt idx="486">
                  <c:v>44640</c:v>
                </c:pt>
                <c:pt idx="487">
                  <c:v>44641</c:v>
                </c:pt>
                <c:pt idx="488">
                  <c:v>44642</c:v>
                </c:pt>
                <c:pt idx="489">
                  <c:v>44643</c:v>
                </c:pt>
                <c:pt idx="490">
                  <c:v>44644</c:v>
                </c:pt>
                <c:pt idx="491">
                  <c:v>44645</c:v>
                </c:pt>
                <c:pt idx="492">
                  <c:v>44646</c:v>
                </c:pt>
                <c:pt idx="493">
                  <c:v>44647</c:v>
                </c:pt>
                <c:pt idx="494">
                  <c:v>44648</c:v>
                </c:pt>
                <c:pt idx="495">
                  <c:v>44649</c:v>
                </c:pt>
                <c:pt idx="496">
                  <c:v>44650</c:v>
                </c:pt>
                <c:pt idx="497">
                  <c:v>44651</c:v>
                </c:pt>
                <c:pt idx="498">
                  <c:v>44652</c:v>
                </c:pt>
                <c:pt idx="499">
                  <c:v>44653</c:v>
                </c:pt>
                <c:pt idx="500">
                  <c:v>44654</c:v>
                </c:pt>
                <c:pt idx="501">
                  <c:v>44655</c:v>
                </c:pt>
                <c:pt idx="502">
                  <c:v>44656</c:v>
                </c:pt>
                <c:pt idx="503">
                  <c:v>44657</c:v>
                </c:pt>
                <c:pt idx="504">
                  <c:v>44658</c:v>
                </c:pt>
                <c:pt idx="505">
                  <c:v>44659</c:v>
                </c:pt>
              </c:numCache>
            </c:numRef>
          </c:cat>
          <c:val>
            <c:numRef>
              <c:f>Sheet1!$B$2:$B$507</c:f>
              <c:numCache>
                <c:formatCode>General</c:formatCode>
                <c:ptCount val="50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2</c:v>
                </c:pt>
                <c:pt idx="25">
                  <c:v>8</c:v>
                </c:pt>
                <c:pt idx="26">
                  <c:v>9</c:v>
                </c:pt>
                <c:pt idx="27">
                  <c:v>19</c:v>
                </c:pt>
                <c:pt idx="28">
                  <c:v>10</c:v>
                </c:pt>
                <c:pt idx="29">
                  <c:v>8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40</c:v>
                </c:pt>
                <c:pt idx="39">
                  <c:v>50</c:v>
                </c:pt>
                <c:pt idx="40">
                  <c:v>34</c:v>
                </c:pt>
                <c:pt idx="41">
                  <c:v>42</c:v>
                </c:pt>
                <c:pt idx="42">
                  <c:v>27</c:v>
                </c:pt>
                <c:pt idx="43">
                  <c:v>17</c:v>
                </c:pt>
                <c:pt idx="44">
                  <c:v>42</c:v>
                </c:pt>
                <c:pt idx="45">
                  <c:v>42</c:v>
                </c:pt>
                <c:pt idx="46">
                  <c:v>60</c:v>
                </c:pt>
                <c:pt idx="47">
                  <c:v>65</c:v>
                </c:pt>
                <c:pt idx="48">
                  <c:v>80</c:v>
                </c:pt>
                <c:pt idx="49">
                  <c:v>47</c:v>
                </c:pt>
                <c:pt idx="50">
                  <c:v>38</c:v>
                </c:pt>
                <c:pt idx="51">
                  <c:v>83</c:v>
                </c:pt>
                <c:pt idx="52">
                  <c:v>78</c:v>
                </c:pt>
                <c:pt idx="53">
                  <c:v>44</c:v>
                </c:pt>
                <c:pt idx="54">
                  <c:v>93</c:v>
                </c:pt>
                <c:pt idx="55">
                  <c:v>104</c:v>
                </c:pt>
                <c:pt idx="56">
                  <c:v>38</c:v>
                </c:pt>
                <c:pt idx="57">
                  <c:v>41</c:v>
                </c:pt>
                <c:pt idx="58">
                  <c:v>66</c:v>
                </c:pt>
                <c:pt idx="59">
                  <c:v>65</c:v>
                </c:pt>
                <c:pt idx="60">
                  <c:v>71</c:v>
                </c:pt>
                <c:pt idx="61">
                  <c:v>84</c:v>
                </c:pt>
                <c:pt idx="62">
                  <c:v>92</c:v>
                </c:pt>
                <c:pt idx="63">
                  <c:v>34</c:v>
                </c:pt>
                <c:pt idx="64">
                  <c:v>19</c:v>
                </c:pt>
                <c:pt idx="65">
                  <c:v>57</c:v>
                </c:pt>
                <c:pt idx="66">
                  <c:v>75</c:v>
                </c:pt>
                <c:pt idx="67">
                  <c:v>124</c:v>
                </c:pt>
                <c:pt idx="68">
                  <c:v>98</c:v>
                </c:pt>
                <c:pt idx="69">
                  <c:v>84</c:v>
                </c:pt>
                <c:pt idx="70">
                  <c:v>48</c:v>
                </c:pt>
                <c:pt idx="71">
                  <c:v>30</c:v>
                </c:pt>
                <c:pt idx="72">
                  <c:v>72</c:v>
                </c:pt>
                <c:pt idx="73">
                  <c:v>26</c:v>
                </c:pt>
                <c:pt idx="74">
                  <c:v>54</c:v>
                </c:pt>
                <c:pt idx="75">
                  <c:v>62</c:v>
                </c:pt>
                <c:pt idx="76">
                  <c:v>55</c:v>
                </c:pt>
                <c:pt idx="77">
                  <c:v>22</c:v>
                </c:pt>
                <c:pt idx="78">
                  <c:v>13</c:v>
                </c:pt>
                <c:pt idx="79">
                  <c:v>78</c:v>
                </c:pt>
                <c:pt idx="80">
                  <c:v>44</c:v>
                </c:pt>
                <c:pt idx="81">
                  <c:v>30</c:v>
                </c:pt>
                <c:pt idx="82">
                  <c:v>37</c:v>
                </c:pt>
                <c:pt idx="83">
                  <c:v>28</c:v>
                </c:pt>
                <c:pt idx="84">
                  <c:v>16</c:v>
                </c:pt>
                <c:pt idx="85">
                  <c:v>13</c:v>
                </c:pt>
                <c:pt idx="86">
                  <c:v>43</c:v>
                </c:pt>
                <c:pt idx="87">
                  <c:v>35</c:v>
                </c:pt>
                <c:pt idx="88">
                  <c:v>29</c:v>
                </c:pt>
                <c:pt idx="89">
                  <c:v>26</c:v>
                </c:pt>
                <c:pt idx="90">
                  <c:v>46</c:v>
                </c:pt>
                <c:pt idx="91">
                  <c:v>21</c:v>
                </c:pt>
                <c:pt idx="92">
                  <c:v>10</c:v>
                </c:pt>
                <c:pt idx="93">
                  <c:v>40</c:v>
                </c:pt>
                <c:pt idx="94">
                  <c:v>30</c:v>
                </c:pt>
                <c:pt idx="95">
                  <c:v>34</c:v>
                </c:pt>
                <c:pt idx="96">
                  <c:v>30</c:v>
                </c:pt>
                <c:pt idx="97">
                  <c:v>36</c:v>
                </c:pt>
                <c:pt idx="98">
                  <c:v>17</c:v>
                </c:pt>
                <c:pt idx="99">
                  <c:v>27</c:v>
                </c:pt>
                <c:pt idx="100">
                  <c:v>37</c:v>
                </c:pt>
                <c:pt idx="101">
                  <c:v>26</c:v>
                </c:pt>
                <c:pt idx="102">
                  <c:v>29</c:v>
                </c:pt>
                <c:pt idx="103">
                  <c:v>17</c:v>
                </c:pt>
                <c:pt idx="104">
                  <c:v>40</c:v>
                </c:pt>
                <c:pt idx="105">
                  <c:v>15</c:v>
                </c:pt>
                <c:pt idx="106">
                  <c:v>8</c:v>
                </c:pt>
                <c:pt idx="107">
                  <c:v>31</c:v>
                </c:pt>
                <c:pt idx="108">
                  <c:v>44</c:v>
                </c:pt>
                <c:pt idx="109">
                  <c:v>22</c:v>
                </c:pt>
                <c:pt idx="110">
                  <c:v>6</c:v>
                </c:pt>
                <c:pt idx="111">
                  <c:v>23</c:v>
                </c:pt>
                <c:pt idx="112">
                  <c:v>19</c:v>
                </c:pt>
                <c:pt idx="113">
                  <c:v>20</c:v>
                </c:pt>
                <c:pt idx="114">
                  <c:v>23</c:v>
                </c:pt>
                <c:pt idx="115">
                  <c:v>46</c:v>
                </c:pt>
                <c:pt idx="116">
                  <c:v>28</c:v>
                </c:pt>
                <c:pt idx="117">
                  <c:v>37</c:v>
                </c:pt>
                <c:pt idx="118">
                  <c:v>20</c:v>
                </c:pt>
                <c:pt idx="119">
                  <c:v>15</c:v>
                </c:pt>
                <c:pt idx="120">
                  <c:v>5</c:v>
                </c:pt>
                <c:pt idx="121">
                  <c:v>36</c:v>
                </c:pt>
                <c:pt idx="122">
                  <c:v>32</c:v>
                </c:pt>
                <c:pt idx="123">
                  <c:v>37</c:v>
                </c:pt>
                <c:pt idx="124">
                  <c:v>46</c:v>
                </c:pt>
                <c:pt idx="125">
                  <c:v>40</c:v>
                </c:pt>
                <c:pt idx="126">
                  <c:v>16</c:v>
                </c:pt>
                <c:pt idx="127">
                  <c:v>10</c:v>
                </c:pt>
                <c:pt idx="128">
                  <c:v>57</c:v>
                </c:pt>
                <c:pt idx="129">
                  <c:v>27</c:v>
                </c:pt>
                <c:pt idx="130">
                  <c:v>22</c:v>
                </c:pt>
                <c:pt idx="131">
                  <c:v>14</c:v>
                </c:pt>
                <c:pt idx="132">
                  <c:v>24</c:v>
                </c:pt>
                <c:pt idx="133">
                  <c:v>13</c:v>
                </c:pt>
                <c:pt idx="134">
                  <c:v>15</c:v>
                </c:pt>
                <c:pt idx="135">
                  <c:v>34</c:v>
                </c:pt>
                <c:pt idx="136">
                  <c:v>28</c:v>
                </c:pt>
                <c:pt idx="137">
                  <c:v>38</c:v>
                </c:pt>
                <c:pt idx="138">
                  <c:v>25</c:v>
                </c:pt>
                <c:pt idx="139">
                  <c:v>24</c:v>
                </c:pt>
                <c:pt idx="140">
                  <c:v>8</c:v>
                </c:pt>
                <c:pt idx="141">
                  <c:v>10</c:v>
                </c:pt>
                <c:pt idx="142">
                  <c:v>25</c:v>
                </c:pt>
                <c:pt idx="143">
                  <c:v>14</c:v>
                </c:pt>
                <c:pt idx="144">
                  <c:v>22</c:v>
                </c:pt>
                <c:pt idx="145">
                  <c:v>12</c:v>
                </c:pt>
                <c:pt idx="146">
                  <c:v>10</c:v>
                </c:pt>
                <c:pt idx="147">
                  <c:v>10</c:v>
                </c:pt>
                <c:pt idx="148">
                  <c:v>7</c:v>
                </c:pt>
                <c:pt idx="149">
                  <c:v>23</c:v>
                </c:pt>
                <c:pt idx="150">
                  <c:v>21</c:v>
                </c:pt>
                <c:pt idx="151">
                  <c:v>15</c:v>
                </c:pt>
                <c:pt idx="152">
                  <c:v>22</c:v>
                </c:pt>
                <c:pt idx="153">
                  <c:v>16</c:v>
                </c:pt>
                <c:pt idx="154">
                  <c:v>6</c:v>
                </c:pt>
                <c:pt idx="155">
                  <c:v>6</c:v>
                </c:pt>
                <c:pt idx="156">
                  <c:v>16</c:v>
                </c:pt>
                <c:pt idx="157">
                  <c:v>16</c:v>
                </c:pt>
                <c:pt idx="158">
                  <c:v>16</c:v>
                </c:pt>
                <c:pt idx="159">
                  <c:v>14</c:v>
                </c:pt>
                <c:pt idx="160">
                  <c:v>13</c:v>
                </c:pt>
                <c:pt idx="161">
                  <c:v>2</c:v>
                </c:pt>
                <c:pt idx="162">
                  <c:v>5</c:v>
                </c:pt>
                <c:pt idx="163">
                  <c:v>9</c:v>
                </c:pt>
                <c:pt idx="164">
                  <c:v>8</c:v>
                </c:pt>
                <c:pt idx="165">
                  <c:v>7</c:v>
                </c:pt>
                <c:pt idx="166">
                  <c:v>10</c:v>
                </c:pt>
                <c:pt idx="167">
                  <c:v>6</c:v>
                </c:pt>
                <c:pt idx="168">
                  <c:v>11</c:v>
                </c:pt>
                <c:pt idx="169">
                  <c:v>4</c:v>
                </c:pt>
                <c:pt idx="170">
                  <c:v>25</c:v>
                </c:pt>
                <c:pt idx="171">
                  <c:v>16</c:v>
                </c:pt>
                <c:pt idx="172">
                  <c:v>10</c:v>
                </c:pt>
                <c:pt idx="173">
                  <c:v>11</c:v>
                </c:pt>
                <c:pt idx="174">
                  <c:v>11</c:v>
                </c:pt>
                <c:pt idx="175">
                  <c:v>4</c:v>
                </c:pt>
                <c:pt idx="176">
                  <c:v>1</c:v>
                </c:pt>
                <c:pt idx="177">
                  <c:v>12</c:v>
                </c:pt>
                <c:pt idx="178">
                  <c:v>7</c:v>
                </c:pt>
                <c:pt idx="179">
                  <c:v>10</c:v>
                </c:pt>
                <c:pt idx="180">
                  <c:v>4</c:v>
                </c:pt>
                <c:pt idx="181">
                  <c:v>10</c:v>
                </c:pt>
                <c:pt idx="182">
                  <c:v>2</c:v>
                </c:pt>
                <c:pt idx="183">
                  <c:v>4</c:v>
                </c:pt>
                <c:pt idx="184">
                  <c:v>6</c:v>
                </c:pt>
                <c:pt idx="185">
                  <c:v>12</c:v>
                </c:pt>
                <c:pt idx="186">
                  <c:v>13</c:v>
                </c:pt>
                <c:pt idx="187">
                  <c:v>8</c:v>
                </c:pt>
                <c:pt idx="188">
                  <c:v>6</c:v>
                </c:pt>
                <c:pt idx="189">
                  <c:v>5</c:v>
                </c:pt>
                <c:pt idx="190">
                  <c:v>3</c:v>
                </c:pt>
                <c:pt idx="191">
                  <c:v>11</c:v>
                </c:pt>
                <c:pt idx="192">
                  <c:v>11</c:v>
                </c:pt>
                <c:pt idx="193">
                  <c:v>3</c:v>
                </c:pt>
                <c:pt idx="194">
                  <c:v>9</c:v>
                </c:pt>
                <c:pt idx="195">
                  <c:v>12</c:v>
                </c:pt>
                <c:pt idx="196">
                  <c:v>4</c:v>
                </c:pt>
                <c:pt idx="197">
                  <c:v>2</c:v>
                </c:pt>
                <c:pt idx="198">
                  <c:v>4</c:v>
                </c:pt>
                <c:pt idx="199">
                  <c:v>8</c:v>
                </c:pt>
                <c:pt idx="200">
                  <c:v>5</c:v>
                </c:pt>
                <c:pt idx="201">
                  <c:v>3</c:v>
                </c:pt>
                <c:pt idx="202">
                  <c:v>3</c:v>
                </c:pt>
                <c:pt idx="203">
                  <c:v>2</c:v>
                </c:pt>
                <c:pt idx="204">
                  <c:v>0</c:v>
                </c:pt>
                <c:pt idx="205">
                  <c:v>3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6</c:v>
                </c:pt>
                <c:pt idx="215">
                  <c:v>1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2</c:v>
                </c:pt>
                <c:pt idx="220">
                  <c:v>5</c:v>
                </c:pt>
                <c:pt idx="221">
                  <c:v>2</c:v>
                </c:pt>
                <c:pt idx="222">
                  <c:v>2</c:v>
                </c:pt>
                <c:pt idx="223">
                  <c:v>1</c:v>
                </c:pt>
                <c:pt idx="224">
                  <c:v>0</c:v>
                </c:pt>
                <c:pt idx="225">
                  <c:v>0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5</c:v>
                </c:pt>
                <c:pt idx="230">
                  <c:v>2</c:v>
                </c:pt>
                <c:pt idx="231">
                  <c:v>0</c:v>
                </c:pt>
                <c:pt idx="232">
                  <c:v>0</c:v>
                </c:pt>
                <c:pt idx="233">
                  <c:v>1</c:v>
                </c:pt>
                <c:pt idx="234">
                  <c:v>5</c:v>
                </c:pt>
                <c:pt idx="235">
                  <c:v>0</c:v>
                </c:pt>
                <c:pt idx="236">
                  <c:v>1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2</c:v>
                </c:pt>
                <c:pt idx="241">
                  <c:v>0</c:v>
                </c:pt>
                <c:pt idx="242">
                  <c:v>1</c:v>
                </c:pt>
                <c:pt idx="243">
                  <c:v>1</c:v>
                </c:pt>
                <c:pt idx="244">
                  <c:v>1</c:v>
                </c:pt>
                <c:pt idx="245">
                  <c:v>0</c:v>
                </c:pt>
                <c:pt idx="246">
                  <c:v>3</c:v>
                </c:pt>
                <c:pt idx="247">
                  <c:v>3</c:v>
                </c:pt>
                <c:pt idx="248">
                  <c:v>1</c:v>
                </c:pt>
                <c:pt idx="249">
                  <c:v>2</c:v>
                </c:pt>
                <c:pt idx="250">
                  <c:v>4</c:v>
                </c:pt>
                <c:pt idx="251">
                  <c:v>1</c:v>
                </c:pt>
                <c:pt idx="252">
                  <c:v>1</c:v>
                </c:pt>
                <c:pt idx="253">
                  <c:v>0</c:v>
                </c:pt>
                <c:pt idx="254">
                  <c:v>2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1</c:v>
                </c:pt>
                <c:pt idx="262">
                  <c:v>2</c:v>
                </c:pt>
                <c:pt idx="263">
                  <c:v>1</c:v>
                </c:pt>
                <c:pt idx="264">
                  <c:v>1</c:v>
                </c:pt>
                <c:pt idx="265">
                  <c:v>0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1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1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1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2</c:v>
                </c:pt>
                <c:pt idx="296">
                  <c:v>2</c:v>
                </c:pt>
                <c:pt idx="297">
                  <c:v>1</c:v>
                </c:pt>
                <c:pt idx="298">
                  <c:v>0</c:v>
                </c:pt>
                <c:pt idx="299">
                  <c:v>2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2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3</c:v>
                </c:pt>
                <c:pt idx="323">
                  <c:v>1</c:v>
                </c:pt>
                <c:pt idx="324">
                  <c:v>3</c:v>
                </c:pt>
                <c:pt idx="325">
                  <c:v>0</c:v>
                </c:pt>
                <c:pt idx="326">
                  <c:v>1</c:v>
                </c:pt>
                <c:pt idx="327">
                  <c:v>1</c:v>
                </c:pt>
                <c:pt idx="328">
                  <c:v>3</c:v>
                </c:pt>
                <c:pt idx="329">
                  <c:v>1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4</c:v>
                </c:pt>
                <c:pt idx="334">
                  <c:v>0</c:v>
                </c:pt>
                <c:pt idx="335">
                  <c:v>1</c:v>
                </c:pt>
                <c:pt idx="336">
                  <c:v>0</c:v>
                </c:pt>
                <c:pt idx="337">
                  <c:v>2</c:v>
                </c:pt>
                <c:pt idx="338">
                  <c:v>0</c:v>
                </c:pt>
                <c:pt idx="339">
                  <c:v>0</c:v>
                </c:pt>
                <c:pt idx="340">
                  <c:v>4</c:v>
                </c:pt>
                <c:pt idx="341">
                  <c:v>2</c:v>
                </c:pt>
                <c:pt idx="342">
                  <c:v>2</c:v>
                </c:pt>
                <c:pt idx="343">
                  <c:v>0</c:v>
                </c:pt>
                <c:pt idx="344">
                  <c:v>5</c:v>
                </c:pt>
                <c:pt idx="345">
                  <c:v>3</c:v>
                </c:pt>
                <c:pt idx="346">
                  <c:v>2</c:v>
                </c:pt>
                <c:pt idx="347">
                  <c:v>9</c:v>
                </c:pt>
                <c:pt idx="348">
                  <c:v>7</c:v>
                </c:pt>
                <c:pt idx="349">
                  <c:v>5</c:v>
                </c:pt>
                <c:pt idx="350">
                  <c:v>3</c:v>
                </c:pt>
                <c:pt idx="351">
                  <c:v>6</c:v>
                </c:pt>
                <c:pt idx="352">
                  <c:v>1</c:v>
                </c:pt>
                <c:pt idx="353">
                  <c:v>1</c:v>
                </c:pt>
                <c:pt idx="354">
                  <c:v>6</c:v>
                </c:pt>
                <c:pt idx="355">
                  <c:v>9</c:v>
                </c:pt>
                <c:pt idx="356">
                  <c:v>5</c:v>
                </c:pt>
                <c:pt idx="357">
                  <c:v>8</c:v>
                </c:pt>
                <c:pt idx="358">
                  <c:v>2</c:v>
                </c:pt>
                <c:pt idx="359">
                  <c:v>5</c:v>
                </c:pt>
                <c:pt idx="360">
                  <c:v>2</c:v>
                </c:pt>
                <c:pt idx="361">
                  <c:v>7</c:v>
                </c:pt>
                <c:pt idx="362">
                  <c:v>7</c:v>
                </c:pt>
                <c:pt idx="363">
                  <c:v>6</c:v>
                </c:pt>
                <c:pt idx="364">
                  <c:v>14</c:v>
                </c:pt>
                <c:pt idx="365">
                  <c:v>7</c:v>
                </c:pt>
                <c:pt idx="366">
                  <c:v>3</c:v>
                </c:pt>
                <c:pt idx="367">
                  <c:v>3</c:v>
                </c:pt>
                <c:pt idx="368">
                  <c:v>14</c:v>
                </c:pt>
                <c:pt idx="369">
                  <c:v>6</c:v>
                </c:pt>
                <c:pt idx="370">
                  <c:v>17</c:v>
                </c:pt>
                <c:pt idx="371">
                  <c:v>3</c:v>
                </c:pt>
                <c:pt idx="372">
                  <c:v>8</c:v>
                </c:pt>
                <c:pt idx="373">
                  <c:v>1</c:v>
                </c:pt>
                <c:pt idx="374">
                  <c:v>3</c:v>
                </c:pt>
                <c:pt idx="375">
                  <c:v>10</c:v>
                </c:pt>
                <c:pt idx="376">
                  <c:v>4</c:v>
                </c:pt>
                <c:pt idx="377">
                  <c:v>8</c:v>
                </c:pt>
                <c:pt idx="378">
                  <c:v>6</c:v>
                </c:pt>
                <c:pt idx="379">
                  <c:v>5</c:v>
                </c:pt>
                <c:pt idx="380">
                  <c:v>6</c:v>
                </c:pt>
                <c:pt idx="381">
                  <c:v>3</c:v>
                </c:pt>
                <c:pt idx="382">
                  <c:v>11</c:v>
                </c:pt>
                <c:pt idx="383">
                  <c:v>2</c:v>
                </c:pt>
                <c:pt idx="384">
                  <c:v>6</c:v>
                </c:pt>
                <c:pt idx="385">
                  <c:v>5</c:v>
                </c:pt>
                <c:pt idx="386">
                  <c:v>7</c:v>
                </c:pt>
                <c:pt idx="387">
                  <c:v>2</c:v>
                </c:pt>
                <c:pt idx="388">
                  <c:v>0</c:v>
                </c:pt>
                <c:pt idx="389">
                  <c:v>6</c:v>
                </c:pt>
                <c:pt idx="390">
                  <c:v>2</c:v>
                </c:pt>
                <c:pt idx="391">
                  <c:v>2</c:v>
                </c:pt>
                <c:pt idx="392">
                  <c:v>5</c:v>
                </c:pt>
                <c:pt idx="393">
                  <c:v>4</c:v>
                </c:pt>
                <c:pt idx="394">
                  <c:v>0</c:v>
                </c:pt>
                <c:pt idx="395">
                  <c:v>1</c:v>
                </c:pt>
                <c:pt idx="396">
                  <c:v>7</c:v>
                </c:pt>
                <c:pt idx="397">
                  <c:v>3</c:v>
                </c:pt>
                <c:pt idx="398">
                  <c:v>3</c:v>
                </c:pt>
                <c:pt idx="399">
                  <c:v>1</c:v>
                </c:pt>
                <c:pt idx="400">
                  <c:v>1</c:v>
                </c:pt>
                <c:pt idx="401">
                  <c:v>1</c:v>
                </c:pt>
                <c:pt idx="402">
                  <c:v>0</c:v>
                </c:pt>
                <c:pt idx="403">
                  <c:v>4</c:v>
                </c:pt>
                <c:pt idx="404">
                  <c:v>4</c:v>
                </c:pt>
                <c:pt idx="405">
                  <c:v>4</c:v>
                </c:pt>
                <c:pt idx="406">
                  <c:v>0</c:v>
                </c:pt>
                <c:pt idx="407">
                  <c:v>3</c:v>
                </c:pt>
                <c:pt idx="408">
                  <c:v>1</c:v>
                </c:pt>
                <c:pt idx="409">
                  <c:v>0</c:v>
                </c:pt>
                <c:pt idx="410">
                  <c:v>3</c:v>
                </c:pt>
                <c:pt idx="411">
                  <c:v>1</c:v>
                </c:pt>
                <c:pt idx="412">
                  <c:v>3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1</c:v>
                </c:pt>
                <c:pt idx="417">
                  <c:v>2</c:v>
                </c:pt>
                <c:pt idx="418">
                  <c:v>0</c:v>
                </c:pt>
                <c:pt idx="419">
                  <c:v>2</c:v>
                </c:pt>
                <c:pt idx="420">
                  <c:v>0</c:v>
                </c:pt>
                <c:pt idx="421">
                  <c:v>5</c:v>
                </c:pt>
                <c:pt idx="422">
                  <c:v>0</c:v>
                </c:pt>
                <c:pt idx="423">
                  <c:v>2</c:v>
                </c:pt>
                <c:pt idx="424">
                  <c:v>3</c:v>
                </c:pt>
                <c:pt idx="425">
                  <c:v>6</c:v>
                </c:pt>
                <c:pt idx="426">
                  <c:v>1</c:v>
                </c:pt>
                <c:pt idx="427">
                  <c:v>2</c:v>
                </c:pt>
                <c:pt idx="428">
                  <c:v>2</c:v>
                </c:pt>
                <c:pt idx="429">
                  <c:v>0</c:v>
                </c:pt>
                <c:pt idx="430">
                  <c:v>1</c:v>
                </c:pt>
                <c:pt idx="431">
                  <c:v>10</c:v>
                </c:pt>
                <c:pt idx="432">
                  <c:v>6</c:v>
                </c:pt>
                <c:pt idx="433">
                  <c:v>8</c:v>
                </c:pt>
                <c:pt idx="434">
                  <c:v>4</c:v>
                </c:pt>
                <c:pt idx="435">
                  <c:v>6</c:v>
                </c:pt>
                <c:pt idx="436">
                  <c:v>2</c:v>
                </c:pt>
                <c:pt idx="437">
                  <c:v>2</c:v>
                </c:pt>
                <c:pt idx="438">
                  <c:v>2</c:v>
                </c:pt>
                <c:pt idx="439">
                  <c:v>10</c:v>
                </c:pt>
                <c:pt idx="440">
                  <c:v>7</c:v>
                </c:pt>
                <c:pt idx="441">
                  <c:v>6</c:v>
                </c:pt>
                <c:pt idx="442">
                  <c:v>12</c:v>
                </c:pt>
                <c:pt idx="443">
                  <c:v>3</c:v>
                </c:pt>
                <c:pt idx="444">
                  <c:v>3</c:v>
                </c:pt>
                <c:pt idx="445">
                  <c:v>7</c:v>
                </c:pt>
                <c:pt idx="446">
                  <c:v>12</c:v>
                </c:pt>
                <c:pt idx="447">
                  <c:v>6</c:v>
                </c:pt>
                <c:pt idx="448">
                  <c:v>8</c:v>
                </c:pt>
                <c:pt idx="449">
                  <c:v>6</c:v>
                </c:pt>
                <c:pt idx="450">
                  <c:v>2</c:v>
                </c:pt>
                <c:pt idx="451">
                  <c:v>2</c:v>
                </c:pt>
                <c:pt idx="452">
                  <c:v>10</c:v>
                </c:pt>
                <c:pt idx="453">
                  <c:v>6</c:v>
                </c:pt>
                <c:pt idx="454">
                  <c:v>8</c:v>
                </c:pt>
                <c:pt idx="455">
                  <c:v>3</c:v>
                </c:pt>
                <c:pt idx="456">
                  <c:v>6</c:v>
                </c:pt>
                <c:pt idx="457">
                  <c:v>1</c:v>
                </c:pt>
                <c:pt idx="458">
                  <c:v>5</c:v>
                </c:pt>
                <c:pt idx="459">
                  <c:v>5</c:v>
                </c:pt>
                <c:pt idx="460">
                  <c:v>16</c:v>
                </c:pt>
                <c:pt idx="461">
                  <c:v>8</c:v>
                </c:pt>
                <c:pt idx="462">
                  <c:v>7</c:v>
                </c:pt>
                <c:pt idx="463">
                  <c:v>5</c:v>
                </c:pt>
                <c:pt idx="464">
                  <c:v>2</c:v>
                </c:pt>
                <c:pt idx="465">
                  <c:v>1</c:v>
                </c:pt>
                <c:pt idx="466">
                  <c:v>4</c:v>
                </c:pt>
                <c:pt idx="467">
                  <c:v>5</c:v>
                </c:pt>
                <c:pt idx="468">
                  <c:v>5</c:v>
                </c:pt>
                <c:pt idx="469">
                  <c:v>4</c:v>
                </c:pt>
                <c:pt idx="470">
                  <c:v>1</c:v>
                </c:pt>
                <c:pt idx="471">
                  <c:v>3</c:v>
                </c:pt>
                <c:pt idx="472">
                  <c:v>2</c:v>
                </c:pt>
                <c:pt idx="473">
                  <c:v>3</c:v>
                </c:pt>
                <c:pt idx="474">
                  <c:v>6</c:v>
                </c:pt>
                <c:pt idx="475">
                  <c:v>2</c:v>
                </c:pt>
                <c:pt idx="476">
                  <c:v>3</c:v>
                </c:pt>
                <c:pt idx="477">
                  <c:v>5</c:v>
                </c:pt>
                <c:pt idx="478">
                  <c:v>1</c:v>
                </c:pt>
                <c:pt idx="479">
                  <c:v>1</c:v>
                </c:pt>
                <c:pt idx="480">
                  <c:v>6</c:v>
                </c:pt>
                <c:pt idx="481">
                  <c:v>1</c:v>
                </c:pt>
                <c:pt idx="482">
                  <c:v>1</c:v>
                </c:pt>
                <c:pt idx="483">
                  <c:v>1</c:v>
                </c:pt>
                <c:pt idx="484">
                  <c:v>3</c:v>
                </c:pt>
                <c:pt idx="485">
                  <c:v>1</c:v>
                </c:pt>
                <c:pt idx="486">
                  <c:v>2</c:v>
                </c:pt>
                <c:pt idx="487">
                  <c:v>3</c:v>
                </c:pt>
                <c:pt idx="488">
                  <c:v>3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2</c:v>
                </c:pt>
                <c:pt idx="493">
                  <c:v>1</c:v>
                </c:pt>
                <c:pt idx="494">
                  <c:v>2</c:v>
                </c:pt>
                <c:pt idx="495">
                  <c:v>0</c:v>
                </c:pt>
                <c:pt idx="496">
                  <c:v>2</c:v>
                </c:pt>
                <c:pt idx="497">
                  <c:v>0</c:v>
                </c:pt>
                <c:pt idx="498">
                  <c:v>1</c:v>
                </c:pt>
                <c:pt idx="499">
                  <c:v>2</c:v>
                </c:pt>
                <c:pt idx="500">
                  <c:v>0</c:v>
                </c:pt>
                <c:pt idx="501">
                  <c:v>1</c:v>
                </c:pt>
                <c:pt idx="502">
                  <c:v>2</c:v>
                </c:pt>
                <c:pt idx="503">
                  <c:v>1</c:v>
                </c:pt>
                <c:pt idx="504">
                  <c:v>0</c:v>
                </c:pt>
                <c:pt idx="50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6</c:f>
              <c:numCache>
                <c:formatCode>m/d/yyyy</c:formatCode>
                <c:ptCount val="505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1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7</c:v>
                </c:pt>
                <c:pt idx="238">
                  <c:v>44318</c:v>
                </c:pt>
                <c:pt idx="239">
                  <c:v>44319</c:v>
                </c:pt>
                <c:pt idx="240">
                  <c:v>44320</c:v>
                </c:pt>
                <c:pt idx="241">
                  <c:v>44321</c:v>
                </c:pt>
                <c:pt idx="242">
                  <c:v>44322</c:v>
                </c:pt>
                <c:pt idx="243">
                  <c:v>44323</c:v>
                </c:pt>
                <c:pt idx="244">
                  <c:v>44324</c:v>
                </c:pt>
                <c:pt idx="245">
                  <c:v>44325</c:v>
                </c:pt>
                <c:pt idx="246">
                  <c:v>44326</c:v>
                </c:pt>
                <c:pt idx="247">
                  <c:v>44327</c:v>
                </c:pt>
                <c:pt idx="248">
                  <c:v>44329</c:v>
                </c:pt>
                <c:pt idx="249">
                  <c:v>44330</c:v>
                </c:pt>
                <c:pt idx="250">
                  <c:v>44331</c:v>
                </c:pt>
                <c:pt idx="251">
                  <c:v>44333</c:v>
                </c:pt>
                <c:pt idx="252">
                  <c:v>44334</c:v>
                </c:pt>
                <c:pt idx="253">
                  <c:v>44335</c:v>
                </c:pt>
                <c:pt idx="254">
                  <c:v>44336</c:v>
                </c:pt>
                <c:pt idx="255">
                  <c:v>44337</c:v>
                </c:pt>
                <c:pt idx="256">
                  <c:v>44340</c:v>
                </c:pt>
                <c:pt idx="257">
                  <c:v>44341</c:v>
                </c:pt>
                <c:pt idx="258">
                  <c:v>44342</c:v>
                </c:pt>
                <c:pt idx="259">
                  <c:v>44343</c:v>
                </c:pt>
                <c:pt idx="260">
                  <c:v>44347</c:v>
                </c:pt>
                <c:pt idx="261">
                  <c:v>44349</c:v>
                </c:pt>
                <c:pt idx="262">
                  <c:v>44350</c:v>
                </c:pt>
                <c:pt idx="263">
                  <c:v>44354</c:v>
                </c:pt>
                <c:pt idx="264">
                  <c:v>44358</c:v>
                </c:pt>
                <c:pt idx="265">
                  <c:v>44359</c:v>
                </c:pt>
                <c:pt idx="266">
                  <c:v>44364</c:v>
                </c:pt>
                <c:pt idx="267">
                  <c:v>44370</c:v>
                </c:pt>
                <c:pt idx="268">
                  <c:v>44371</c:v>
                </c:pt>
                <c:pt idx="269">
                  <c:v>44372</c:v>
                </c:pt>
                <c:pt idx="270">
                  <c:v>44375</c:v>
                </c:pt>
                <c:pt idx="271">
                  <c:v>44377</c:v>
                </c:pt>
                <c:pt idx="272">
                  <c:v>44378</c:v>
                </c:pt>
                <c:pt idx="273">
                  <c:v>44381</c:v>
                </c:pt>
                <c:pt idx="274">
                  <c:v>44383</c:v>
                </c:pt>
                <c:pt idx="275">
                  <c:v>44384</c:v>
                </c:pt>
                <c:pt idx="276">
                  <c:v>44385</c:v>
                </c:pt>
                <c:pt idx="277">
                  <c:v>44388</c:v>
                </c:pt>
                <c:pt idx="278">
                  <c:v>44398</c:v>
                </c:pt>
                <c:pt idx="279">
                  <c:v>44401</c:v>
                </c:pt>
                <c:pt idx="280">
                  <c:v>44404</c:v>
                </c:pt>
                <c:pt idx="281">
                  <c:v>44405</c:v>
                </c:pt>
                <c:pt idx="282">
                  <c:v>44407</c:v>
                </c:pt>
                <c:pt idx="283">
                  <c:v>44416</c:v>
                </c:pt>
                <c:pt idx="284">
                  <c:v>44419</c:v>
                </c:pt>
                <c:pt idx="285">
                  <c:v>44423</c:v>
                </c:pt>
                <c:pt idx="286">
                  <c:v>44424</c:v>
                </c:pt>
                <c:pt idx="287">
                  <c:v>44425</c:v>
                </c:pt>
                <c:pt idx="288">
                  <c:v>44427</c:v>
                </c:pt>
                <c:pt idx="289">
                  <c:v>44431</c:v>
                </c:pt>
                <c:pt idx="290">
                  <c:v>44434</c:v>
                </c:pt>
                <c:pt idx="291">
                  <c:v>44435</c:v>
                </c:pt>
                <c:pt idx="292">
                  <c:v>44436</c:v>
                </c:pt>
                <c:pt idx="293">
                  <c:v>44437</c:v>
                </c:pt>
                <c:pt idx="294">
                  <c:v>44440</c:v>
                </c:pt>
                <c:pt idx="295">
                  <c:v>44441</c:v>
                </c:pt>
                <c:pt idx="296">
                  <c:v>44442</c:v>
                </c:pt>
                <c:pt idx="297">
                  <c:v>44443</c:v>
                </c:pt>
                <c:pt idx="298">
                  <c:v>44445</c:v>
                </c:pt>
                <c:pt idx="299">
                  <c:v>44446</c:v>
                </c:pt>
                <c:pt idx="300">
                  <c:v>44447</c:v>
                </c:pt>
                <c:pt idx="301">
                  <c:v>44448</c:v>
                </c:pt>
                <c:pt idx="302">
                  <c:v>44449</c:v>
                </c:pt>
                <c:pt idx="303">
                  <c:v>44451</c:v>
                </c:pt>
                <c:pt idx="304">
                  <c:v>44452</c:v>
                </c:pt>
                <c:pt idx="305">
                  <c:v>44453</c:v>
                </c:pt>
                <c:pt idx="306">
                  <c:v>44457</c:v>
                </c:pt>
                <c:pt idx="307">
                  <c:v>44459</c:v>
                </c:pt>
                <c:pt idx="308">
                  <c:v>44460</c:v>
                </c:pt>
                <c:pt idx="309">
                  <c:v>44461</c:v>
                </c:pt>
                <c:pt idx="310">
                  <c:v>44464</c:v>
                </c:pt>
                <c:pt idx="311">
                  <c:v>44465</c:v>
                </c:pt>
                <c:pt idx="312">
                  <c:v>44466</c:v>
                </c:pt>
                <c:pt idx="313">
                  <c:v>44467</c:v>
                </c:pt>
                <c:pt idx="314">
                  <c:v>44468</c:v>
                </c:pt>
                <c:pt idx="315">
                  <c:v>44469</c:v>
                </c:pt>
                <c:pt idx="316">
                  <c:v>44470</c:v>
                </c:pt>
                <c:pt idx="317">
                  <c:v>44471</c:v>
                </c:pt>
                <c:pt idx="318">
                  <c:v>44472</c:v>
                </c:pt>
                <c:pt idx="319">
                  <c:v>44473</c:v>
                </c:pt>
                <c:pt idx="320">
                  <c:v>44474</c:v>
                </c:pt>
                <c:pt idx="321">
                  <c:v>44475</c:v>
                </c:pt>
                <c:pt idx="322">
                  <c:v>44476</c:v>
                </c:pt>
                <c:pt idx="323">
                  <c:v>44477</c:v>
                </c:pt>
                <c:pt idx="324">
                  <c:v>44478</c:v>
                </c:pt>
                <c:pt idx="325">
                  <c:v>44480</c:v>
                </c:pt>
                <c:pt idx="326">
                  <c:v>44481</c:v>
                </c:pt>
                <c:pt idx="327">
                  <c:v>44482</c:v>
                </c:pt>
                <c:pt idx="328">
                  <c:v>44483</c:v>
                </c:pt>
                <c:pt idx="329">
                  <c:v>44484</c:v>
                </c:pt>
                <c:pt idx="330">
                  <c:v>44485</c:v>
                </c:pt>
                <c:pt idx="331">
                  <c:v>44486</c:v>
                </c:pt>
                <c:pt idx="332">
                  <c:v>44487</c:v>
                </c:pt>
                <c:pt idx="333">
                  <c:v>44488</c:v>
                </c:pt>
                <c:pt idx="334">
                  <c:v>44489</c:v>
                </c:pt>
                <c:pt idx="335">
                  <c:v>44490</c:v>
                </c:pt>
                <c:pt idx="336">
                  <c:v>44491</c:v>
                </c:pt>
                <c:pt idx="337">
                  <c:v>44492</c:v>
                </c:pt>
                <c:pt idx="338">
                  <c:v>44493</c:v>
                </c:pt>
                <c:pt idx="339">
                  <c:v>44494</c:v>
                </c:pt>
                <c:pt idx="340">
                  <c:v>44495</c:v>
                </c:pt>
                <c:pt idx="341">
                  <c:v>44496</c:v>
                </c:pt>
                <c:pt idx="342">
                  <c:v>44497</c:v>
                </c:pt>
                <c:pt idx="343">
                  <c:v>44498</c:v>
                </c:pt>
                <c:pt idx="344">
                  <c:v>44499</c:v>
                </c:pt>
                <c:pt idx="345">
                  <c:v>44500</c:v>
                </c:pt>
                <c:pt idx="346">
                  <c:v>44501</c:v>
                </c:pt>
                <c:pt idx="347">
                  <c:v>44502</c:v>
                </c:pt>
                <c:pt idx="348">
                  <c:v>44503</c:v>
                </c:pt>
                <c:pt idx="349">
                  <c:v>44504</c:v>
                </c:pt>
                <c:pt idx="350">
                  <c:v>44505</c:v>
                </c:pt>
                <c:pt idx="351">
                  <c:v>44506</c:v>
                </c:pt>
                <c:pt idx="352">
                  <c:v>44507</c:v>
                </c:pt>
                <c:pt idx="353">
                  <c:v>44508</c:v>
                </c:pt>
                <c:pt idx="354">
                  <c:v>44509</c:v>
                </c:pt>
                <c:pt idx="355">
                  <c:v>44510</c:v>
                </c:pt>
                <c:pt idx="356">
                  <c:v>44511</c:v>
                </c:pt>
                <c:pt idx="357">
                  <c:v>44512</c:v>
                </c:pt>
                <c:pt idx="358">
                  <c:v>44513</c:v>
                </c:pt>
                <c:pt idx="359">
                  <c:v>44514</c:v>
                </c:pt>
                <c:pt idx="360">
                  <c:v>44515</c:v>
                </c:pt>
                <c:pt idx="361">
                  <c:v>44516</c:v>
                </c:pt>
                <c:pt idx="362">
                  <c:v>44517</c:v>
                </c:pt>
                <c:pt idx="363">
                  <c:v>44518</c:v>
                </c:pt>
                <c:pt idx="364">
                  <c:v>44519</c:v>
                </c:pt>
                <c:pt idx="365">
                  <c:v>44520</c:v>
                </c:pt>
                <c:pt idx="366">
                  <c:v>44521</c:v>
                </c:pt>
                <c:pt idx="367">
                  <c:v>44522</c:v>
                </c:pt>
                <c:pt idx="368">
                  <c:v>44523</c:v>
                </c:pt>
                <c:pt idx="369">
                  <c:v>44524</c:v>
                </c:pt>
                <c:pt idx="370">
                  <c:v>44525</c:v>
                </c:pt>
                <c:pt idx="371">
                  <c:v>44526</c:v>
                </c:pt>
                <c:pt idx="372">
                  <c:v>44527</c:v>
                </c:pt>
                <c:pt idx="373">
                  <c:v>44528</c:v>
                </c:pt>
                <c:pt idx="374">
                  <c:v>44529</c:v>
                </c:pt>
                <c:pt idx="375">
                  <c:v>44530</c:v>
                </c:pt>
                <c:pt idx="376">
                  <c:v>44531</c:v>
                </c:pt>
                <c:pt idx="377">
                  <c:v>44532</c:v>
                </c:pt>
                <c:pt idx="378">
                  <c:v>44533</c:v>
                </c:pt>
                <c:pt idx="379">
                  <c:v>44534</c:v>
                </c:pt>
                <c:pt idx="380">
                  <c:v>44535</c:v>
                </c:pt>
                <c:pt idx="381">
                  <c:v>44536</c:v>
                </c:pt>
                <c:pt idx="382">
                  <c:v>44537</c:v>
                </c:pt>
                <c:pt idx="383">
                  <c:v>44538</c:v>
                </c:pt>
                <c:pt idx="384">
                  <c:v>44539</c:v>
                </c:pt>
                <c:pt idx="385">
                  <c:v>44540</c:v>
                </c:pt>
                <c:pt idx="386">
                  <c:v>44541</c:v>
                </c:pt>
                <c:pt idx="387">
                  <c:v>44542</c:v>
                </c:pt>
                <c:pt idx="388">
                  <c:v>44543</c:v>
                </c:pt>
                <c:pt idx="389">
                  <c:v>44544</c:v>
                </c:pt>
                <c:pt idx="390">
                  <c:v>44545</c:v>
                </c:pt>
                <c:pt idx="391">
                  <c:v>44546</c:v>
                </c:pt>
                <c:pt idx="392">
                  <c:v>44547</c:v>
                </c:pt>
                <c:pt idx="393">
                  <c:v>44548</c:v>
                </c:pt>
                <c:pt idx="394">
                  <c:v>44549</c:v>
                </c:pt>
                <c:pt idx="395">
                  <c:v>44550</c:v>
                </c:pt>
                <c:pt idx="396">
                  <c:v>44551</c:v>
                </c:pt>
                <c:pt idx="397">
                  <c:v>44552</c:v>
                </c:pt>
                <c:pt idx="398">
                  <c:v>44553</c:v>
                </c:pt>
                <c:pt idx="399">
                  <c:v>44554</c:v>
                </c:pt>
                <c:pt idx="400">
                  <c:v>44555</c:v>
                </c:pt>
                <c:pt idx="401">
                  <c:v>44556</c:v>
                </c:pt>
                <c:pt idx="402">
                  <c:v>44557</c:v>
                </c:pt>
                <c:pt idx="403">
                  <c:v>44558</c:v>
                </c:pt>
                <c:pt idx="404">
                  <c:v>44559</c:v>
                </c:pt>
                <c:pt idx="405">
                  <c:v>44560</c:v>
                </c:pt>
                <c:pt idx="406">
                  <c:v>44561</c:v>
                </c:pt>
                <c:pt idx="407">
                  <c:v>44562</c:v>
                </c:pt>
                <c:pt idx="408">
                  <c:v>44563</c:v>
                </c:pt>
                <c:pt idx="409">
                  <c:v>44564</c:v>
                </c:pt>
                <c:pt idx="410">
                  <c:v>44565</c:v>
                </c:pt>
                <c:pt idx="411">
                  <c:v>44566</c:v>
                </c:pt>
                <c:pt idx="412">
                  <c:v>44567</c:v>
                </c:pt>
                <c:pt idx="413">
                  <c:v>44568</c:v>
                </c:pt>
                <c:pt idx="414">
                  <c:v>44569</c:v>
                </c:pt>
                <c:pt idx="415">
                  <c:v>44570</c:v>
                </c:pt>
                <c:pt idx="416">
                  <c:v>44571</c:v>
                </c:pt>
                <c:pt idx="417">
                  <c:v>44572</c:v>
                </c:pt>
                <c:pt idx="418">
                  <c:v>44573</c:v>
                </c:pt>
                <c:pt idx="419">
                  <c:v>44574</c:v>
                </c:pt>
                <c:pt idx="420">
                  <c:v>44575</c:v>
                </c:pt>
                <c:pt idx="421">
                  <c:v>44576</c:v>
                </c:pt>
                <c:pt idx="422">
                  <c:v>44577</c:v>
                </c:pt>
                <c:pt idx="423">
                  <c:v>44578</c:v>
                </c:pt>
                <c:pt idx="424">
                  <c:v>44579</c:v>
                </c:pt>
                <c:pt idx="425">
                  <c:v>44580</c:v>
                </c:pt>
                <c:pt idx="426">
                  <c:v>44581</c:v>
                </c:pt>
                <c:pt idx="427">
                  <c:v>44582</c:v>
                </c:pt>
                <c:pt idx="428">
                  <c:v>44583</c:v>
                </c:pt>
                <c:pt idx="429">
                  <c:v>44584</c:v>
                </c:pt>
                <c:pt idx="430">
                  <c:v>44585</c:v>
                </c:pt>
                <c:pt idx="431">
                  <c:v>44586</c:v>
                </c:pt>
                <c:pt idx="432">
                  <c:v>44587</c:v>
                </c:pt>
                <c:pt idx="433">
                  <c:v>44588</c:v>
                </c:pt>
                <c:pt idx="434">
                  <c:v>44589</c:v>
                </c:pt>
                <c:pt idx="435">
                  <c:v>44590</c:v>
                </c:pt>
                <c:pt idx="436">
                  <c:v>44591</c:v>
                </c:pt>
                <c:pt idx="437">
                  <c:v>44592</c:v>
                </c:pt>
                <c:pt idx="438">
                  <c:v>44593</c:v>
                </c:pt>
                <c:pt idx="439">
                  <c:v>44594</c:v>
                </c:pt>
                <c:pt idx="440">
                  <c:v>44595</c:v>
                </c:pt>
                <c:pt idx="441">
                  <c:v>44596</c:v>
                </c:pt>
                <c:pt idx="442">
                  <c:v>44597</c:v>
                </c:pt>
                <c:pt idx="443">
                  <c:v>44598</c:v>
                </c:pt>
                <c:pt idx="444">
                  <c:v>44599</c:v>
                </c:pt>
                <c:pt idx="445">
                  <c:v>44600</c:v>
                </c:pt>
                <c:pt idx="446">
                  <c:v>44601</c:v>
                </c:pt>
                <c:pt idx="447">
                  <c:v>44602</c:v>
                </c:pt>
                <c:pt idx="448">
                  <c:v>44603</c:v>
                </c:pt>
                <c:pt idx="449">
                  <c:v>44604</c:v>
                </c:pt>
                <c:pt idx="450">
                  <c:v>44605</c:v>
                </c:pt>
                <c:pt idx="451">
                  <c:v>44606</c:v>
                </c:pt>
                <c:pt idx="452">
                  <c:v>44607</c:v>
                </c:pt>
                <c:pt idx="453">
                  <c:v>44608</c:v>
                </c:pt>
                <c:pt idx="454">
                  <c:v>44609</c:v>
                </c:pt>
                <c:pt idx="455">
                  <c:v>44610</c:v>
                </c:pt>
                <c:pt idx="456">
                  <c:v>44611</c:v>
                </c:pt>
                <c:pt idx="457">
                  <c:v>44612</c:v>
                </c:pt>
                <c:pt idx="458">
                  <c:v>44613</c:v>
                </c:pt>
                <c:pt idx="459">
                  <c:v>44614</c:v>
                </c:pt>
                <c:pt idx="460">
                  <c:v>44615</c:v>
                </c:pt>
                <c:pt idx="461">
                  <c:v>44616</c:v>
                </c:pt>
                <c:pt idx="462">
                  <c:v>44617</c:v>
                </c:pt>
                <c:pt idx="463">
                  <c:v>44618</c:v>
                </c:pt>
                <c:pt idx="464">
                  <c:v>44619</c:v>
                </c:pt>
                <c:pt idx="465">
                  <c:v>44620</c:v>
                </c:pt>
                <c:pt idx="466">
                  <c:v>44621</c:v>
                </c:pt>
                <c:pt idx="467">
                  <c:v>44622</c:v>
                </c:pt>
                <c:pt idx="468">
                  <c:v>44623</c:v>
                </c:pt>
                <c:pt idx="469">
                  <c:v>44624</c:v>
                </c:pt>
                <c:pt idx="470">
                  <c:v>44625</c:v>
                </c:pt>
                <c:pt idx="471">
                  <c:v>44626</c:v>
                </c:pt>
                <c:pt idx="472">
                  <c:v>44627</c:v>
                </c:pt>
                <c:pt idx="473">
                  <c:v>44628</c:v>
                </c:pt>
                <c:pt idx="474">
                  <c:v>44629</c:v>
                </c:pt>
                <c:pt idx="475">
                  <c:v>44630</c:v>
                </c:pt>
                <c:pt idx="476">
                  <c:v>44631</c:v>
                </c:pt>
                <c:pt idx="477">
                  <c:v>44632</c:v>
                </c:pt>
                <c:pt idx="478">
                  <c:v>44633</c:v>
                </c:pt>
                <c:pt idx="479">
                  <c:v>44634</c:v>
                </c:pt>
                <c:pt idx="480">
                  <c:v>44635</c:v>
                </c:pt>
                <c:pt idx="481">
                  <c:v>44636</c:v>
                </c:pt>
                <c:pt idx="482">
                  <c:v>44637</c:v>
                </c:pt>
                <c:pt idx="483">
                  <c:v>44638</c:v>
                </c:pt>
                <c:pt idx="484">
                  <c:v>44639</c:v>
                </c:pt>
                <c:pt idx="485">
                  <c:v>44640</c:v>
                </c:pt>
                <c:pt idx="486">
                  <c:v>44641</c:v>
                </c:pt>
                <c:pt idx="487">
                  <c:v>44642</c:v>
                </c:pt>
                <c:pt idx="488">
                  <c:v>44643</c:v>
                </c:pt>
                <c:pt idx="489">
                  <c:v>44644</c:v>
                </c:pt>
                <c:pt idx="490">
                  <c:v>44645</c:v>
                </c:pt>
                <c:pt idx="491">
                  <c:v>44646</c:v>
                </c:pt>
                <c:pt idx="492">
                  <c:v>44647</c:v>
                </c:pt>
                <c:pt idx="493">
                  <c:v>44648</c:v>
                </c:pt>
                <c:pt idx="494">
                  <c:v>44649</c:v>
                </c:pt>
                <c:pt idx="495">
                  <c:v>44650</c:v>
                </c:pt>
                <c:pt idx="496">
                  <c:v>44651</c:v>
                </c:pt>
                <c:pt idx="497">
                  <c:v>44652</c:v>
                </c:pt>
                <c:pt idx="498">
                  <c:v>44653</c:v>
                </c:pt>
                <c:pt idx="499">
                  <c:v>44654</c:v>
                </c:pt>
                <c:pt idx="500">
                  <c:v>44655</c:v>
                </c:pt>
                <c:pt idx="501">
                  <c:v>44656</c:v>
                </c:pt>
                <c:pt idx="502">
                  <c:v>44657</c:v>
                </c:pt>
                <c:pt idx="503">
                  <c:v>44658</c:v>
                </c:pt>
                <c:pt idx="504">
                  <c:v>44659</c:v>
                </c:pt>
              </c:numCache>
            </c:numRef>
          </c:cat>
          <c:val>
            <c:numRef>
              <c:f>Sheet1!$B$2:$B$506</c:f>
              <c:numCache>
                <c:formatCode>General</c:formatCode>
                <c:ptCount val="5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5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5</c:v>
                </c:pt>
                <c:pt idx="45">
                  <c:v>21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8</c:v>
                </c:pt>
                <c:pt idx="50">
                  <c:v>28</c:v>
                </c:pt>
                <c:pt idx="51">
                  <c:v>19</c:v>
                </c:pt>
                <c:pt idx="52">
                  <c:v>11</c:v>
                </c:pt>
                <c:pt idx="53">
                  <c:v>21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3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7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21</c:v>
                </c:pt>
                <c:pt idx="69">
                  <c:v>9</c:v>
                </c:pt>
                <c:pt idx="70">
                  <c:v>5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4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9</c:v>
                </c:pt>
                <c:pt idx="81">
                  <c:v>10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3</c:v>
                </c:pt>
                <c:pt idx="89">
                  <c:v>9</c:v>
                </c:pt>
                <c:pt idx="90">
                  <c:v>3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6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4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9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6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3</c:v>
                </c:pt>
                <c:pt idx="145">
                  <c:v>2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4</c:v>
                </c:pt>
                <c:pt idx="154">
                  <c:v>1</c:v>
                </c:pt>
                <c:pt idx="155">
                  <c:v>3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1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1</c:v>
                </c:pt>
                <c:pt idx="169">
                  <c:v>2</c:v>
                </c:pt>
                <c:pt idx="170">
                  <c:v>4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3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1</c:v>
                </c:pt>
                <c:pt idx="193">
                  <c:v>4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2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1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2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2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1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1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1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1</c:v>
                </c:pt>
                <c:pt idx="322">
                  <c:v>1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1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3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1</c:v>
                </c:pt>
                <c:pt idx="346">
                  <c:v>2</c:v>
                </c:pt>
                <c:pt idx="347">
                  <c:v>2</c:v>
                </c:pt>
                <c:pt idx="348">
                  <c:v>1</c:v>
                </c:pt>
                <c:pt idx="349">
                  <c:v>0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3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2</c:v>
                </c:pt>
                <c:pt idx="359">
                  <c:v>2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7</c:v>
                </c:pt>
                <c:pt idx="364">
                  <c:v>3</c:v>
                </c:pt>
                <c:pt idx="365">
                  <c:v>1</c:v>
                </c:pt>
                <c:pt idx="366">
                  <c:v>2</c:v>
                </c:pt>
                <c:pt idx="367">
                  <c:v>2</c:v>
                </c:pt>
                <c:pt idx="368">
                  <c:v>0</c:v>
                </c:pt>
                <c:pt idx="369">
                  <c:v>5</c:v>
                </c:pt>
                <c:pt idx="370">
                  <c:v>0</c:v>
                </c:pt>
                <c:pt idx="371">
                  <c:v>1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1</c:v>
                </c:pt>
                <c:pt idx="381">
                  <c:v>1</c:v>
                </c:pt>
                <c:pt idx="382">
                  <c:v>0</c:v>
                </c:pt>
                <c:pt idx="383">
                  <c:v>1</c:v>
                </c:pt>
                <c:pt idx="384">
                  <c:v>2</c:v>
                </c:pt>
                <c:pt idx="385">
                  <c:v>1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1</c:v>
                </c:pt>
                <c:pt idx="392">
                  <c:v>1</c:v>
                </c:pt>
                <c:pt idx="393">
                  <c:v>0</c:v>
                </c:pt>
                <c:pt idx="394">
                  <c:v>0</c:v>
                </c:pt>
                <c:pt idx="395">
                  <c:v>2</c:v>
                </c:pt>
                <c:pt idx="396">
                  <c:v>0</c:v>
                </c:pt>
                <c:pt idx="397">
                  <c:v>1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1</c:v>
                </c:pt>
                <c:pt idx="410">
                  <c:v>0</c:v>
                </c:pt>
                <c:pt idx="411">
                  <c:v>1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1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3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3</c:v>
                </c:pt>
                <c:pt idx="433">
                  <c:v>0</c:v>
                </c:pt>
                <c:pt idx="434">
                  <c:v>1</c:v>
                </c:pt>
                <c:pt idx="435">
                  <c:v>0</c:v>
                </c:pt>
                <c:pt idx="436">
                  <c:v>0</c:v>
                </c:pt>
                <c:pt idx="437">
                  <c:v>1</c:v>
                </c:pt>
                <c:pt idx="438">
                  <c:v>4</c:v>
                </c:pt>
                <c:pt idx="439">
                  <c:v>1</c:v>
                </c:pt>
                <c:pt idx="440">
                  <c:v>2</c:v>
                </c:pt>
                <c:pt idx="441">
                  <c:v>2</c:v>
                </c:pt>
                <c:pt idx="442">
                  <c:v>1</c:v>
                </c:pt>
                <c:pt idx="443">
                  <c:v>1</c:v>
                </c:pt>
                <c:pt idx="444">
                  <c:v>1</c:v>
                </c:pt>
                <c:pt idx="445">
                  <c:v>1</c:v>
                </c:pt>
                <c:pt idx="446">
                  <c:v>1</c:v>
                </c:pt>
                <c:pt idx="447">
                  <c:v>1</c:v>
                </c:pt>
                <c:pt idx="448">
                  <c:v>1</c:v>
                </c:pt>
                <c:pt idx="449">
                  <c:v>1</c:v>
                </c:pt>
                <c:pt idx="450">
                  <c:v>0</c:v>
                </c:pt>
                <c:pt idx="451">
                  <c:v>2</c:v>
                </c:pt>
                <c:pt idx="452">
                  <c:v>2</c:v>
                </c:pt>
                <c:pt idx="453">
                  <c:v>0</c:v>
                </c:pt>
                <c:pt idx="454">
                  <c:v>1</c:v>
                </c:pt>
                <c:pt idx="455">
                  <c:v>1</c:v>
                </c:pt>
                <c:pt idx="456">
                  <c:v>0</c:v>
                </c:pt>
                <c:pt idx="457">
                  <c:v>1</c:v>
                </c:pt>
                <c:pt idx="458">
                  <c:v>1</c:v>
                </c:pt>
                <c:pt idx="459">
                  <c:v>2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1</c:v>
                </c:pt>
                <c:pt idx="464">
                  <c:v>0</c:v>
                </c:pt>
                <c:pt idx="465">
                  <c:v>1</c:v>
                </c:pt>
                <c:pt idx="466">
                  <c:v>0</c:v>
                </c:pt>
                <c:pt idx="467">
                  <c:v>1</c:v>
                </c:pt>
                <c:pt idx="468">
                  <c:v>1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1</c:v>
                </c:pt>
                <c:pt idx="477">
                  <c:v>0</c:v>
                </c:pt>
                <c:pt idx="478">
                  <c:v>0</c:v>
                </c:pt>
                <c:pt idx="479">
                  <c:v>1</c:v>
                </c:pt>
                <c:pt idx="480">
                  <c:v>1</c:v>
                </c:pt>
                <c:pt idx="481">
                  <c:v>0</c:v>
                </c:pt>
                <c:pt idx="482">
                  <c:v>0</c:v>
                </c:pt>
                <c:pt idx="483">
                  <c:v>1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1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1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30</c:v>
                </c:pt>
                <c:pt idx="3">
                  <c:v>253</c:v>
                </c:pt>
                <c:pt idx="4">
                  <c:v>311</c:v>
                </c:pt>
                <c:pt idx="5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1.–
6.2.</c:v>
                </c:pt>
                <c:pt idx="1">
                  <c:v>7.2.–
13.2.</c:v>
                </c:pt>
                <c:pt idx="2">
                  <c:v>14.2.–
20.2.</c:v>
                </c:pt>
                <c:pt idx="3">
                  <c:v>21.2.–
27.2.</c:v>
                </c:pt>
                <c:pt idx="4">
                  <c:v>28.2.–
6.3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86</c:v>
                </c:pt>
                <c:pt idx="1">
                  <c:v>825</c:v>
                </c:pt>
                <c:pt idx="2">
                  <c:v>349</c:v>
                </c:pt>
                <c:pt idx="3">
                  <c:v>298</c:v>
                </c:pt>
                <c:pt idx="4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2.–
6.3.</c:v>
                </c:pt>
                <c:pt idx="1">
                  <c:v>7.3.–
13.3.</c:v>
                </c:pt>
                <c:pt idx="2">
                  <c:v>14.3.–
20.3.</c:v>
                </c:pt>
                <c:pt idx="3">
                  <c:v>21.3.–
27.3.</c:v>
                </c:pt>
                <c:pt idx="4">
                  <c:v>28.3.–
3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10</c:v>
                </c:pt>
                <c:pt idx="1">
                  <c:v>205</c:v>
                </c:pt>
                <c:pt idx="2">
                  <c:v>138</c:v>
                </c:pt>
                <c:pt idx="3">
                  <c:v>216</c:v>
                </c:pt>
                <c:pt idx="4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3.–
3.4.</c:v>
                </c:pt>
                <c:pt idx="1">
                  <c:v>4.4.–
10.4.</c:v>
                </c:pt>
                <c:pt idx="2">
                  <c:v>11.4.–
17.4.</c:v>
                </c:pt>
                <c:pt idx="3">
                  <c:v>18.4.–
24.4.</c:v>
                </c:pt>
                <c:pt idx="4">
                  <c:v>25.4.–
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9</c:v>
                </c:pt>
                <c:pt idx="1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859999999999999</c:v>
                </c:pt>
                <c:pt idx="1">
                  <c:v>0.181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0.04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0.04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9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12.xml"/><Relationship Id="rId5" Type="http://schemas.openxmlformats.org/officeDocument/2006/relationships/tags" Target="../tags/tag15.xml"/><Relationship Id="rId10" Type="http://schemas.openxmlformats.org/officeDocument/2006/relationships/chart" Target="../charts/chart11.xml"/><Relationship Id="rId4" Type="http://schemas.openxmlformats.org/officeDocument/2006/relationships/tags" Target="../tags/tag14.xml"/><Relationship Id="rId9" Type="http://schemas.openxmlformats.org/officeDocument/2006/relationships/chart" Target="../charts/char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4.xml"/><Relationship Id="rId5" Type="http://schemas.openxmlformats.org/officeDocument/2006/relationships/tags" Target="../tags/tag22.xml"/><Relationship Id="rId10" Type="http://schemas.openxmlformats.org/officeDocument/2006/relationships/chart" Target="../charts/chart13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7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9.xml"/><Relationship Id="rId5" Type="http://schemas.openxmlformats.org/officeDocument/2006/relationships/chart" Target="../charts/chart18.xml"/><Relationship Id="rId4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chart" Target="../charts/chart2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3.xml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DAC3E876-E41A-40D0-9CF2-3AFE1F1EB9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615592"/>
              </p:ext>
            </p:extLst>
          </p:nvPr>
        </p:nvGraphicFramePr>
        <p:xfrm>
          <a:off x="7362813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499541466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5796153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5124873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876701426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1491393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375101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7238399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2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0799402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893234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5434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BE21E2B-92AC-4190-983C-AAE696DDF3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945023"/>
              </p:ext>
            </p:extLst>
          </p:nvPr>
        </p:nvGraphicFramePr>
        <p:xfrm>
          <a:off x="7362802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190124675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6317161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76403874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24524833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66195159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5301901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012785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2 k 9. 4.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9. 4. 2022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50294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3370409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01630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31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978262"/>
              </p:ext>
            </p:extLst>
          </p:nvPr>
        </p:nvGraphicFramePr>
        <p:xfrm>
          <a:off x="1372685" y="981098"/>
          <a:ext cx="9684753" cy="554040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442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pro zdravotně postižené děti a mládež – SRDÍČKO, p.o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Vrchlab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, Komenského 6, 382 26 Horní Pla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58551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843817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509063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OVICE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327835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8575557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Zahradní město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Louck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7E221A7-C6C9-47E2-BB32-2A8D1AB67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84062"/>
              </p:ext>
            </p:extLst>
          </p:nvPr>
        </p:nvGraphicFramePr>
        <p:xfrm>
          <a:off x="1372685" y="1009672"/>
          <a:ext cx="9684753" cy="540065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11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Česká J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áchova Prah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Slivenec s.r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KUN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ELEHRAD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DĚJE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centrum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Jablonecké Paseky, p. 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 zvláštním režim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rbno p.P., Mnichov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D Malá Čermná 42 l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rizont,p.o. - odd B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nov, Rooseveltova 51, 79401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Třebo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5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rsek Olš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765747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274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u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27948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anž. Curieových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367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0. 2. – 15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7890803"/>
              </p:ext>
            </p:extLst>
          </p:nvPr>
        </p:nvGraphicFramePr>
        <p:xfrm>
          <a:off x="1372685" y="1009674"/>
          <a:ext cx="9684753" cy="539113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2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lementas Mlé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sy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Anežky Velký Újez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NÁVOJNÁ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ÁŽANY22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Osobl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Sněženková 8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MSSS Oáza II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projekt s.r.o.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Svob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15, Parmsk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vízdal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Náměšť nad Osl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GF Alzheimer centrum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tenz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4100532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Ďáb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8007991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Fontá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2507756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Meziříčí, Zdenky Vorlové 2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72129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6. 2. – 28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232111"/>
              </p:ext>
            </p:extLst>
          </p:nvPr>
        </p:nvGraphicFramePr>
        <p:xfrm>
          <a:off x="1372685" y="1009674"/>
          <a:ext cx="9684753" cy="54101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31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U Přehrady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ubešova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REŠ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LP Therapon 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LAZNE KYNZVART -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AZA LOUCKY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uknov, Křečanská 630, Šluk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n. M. I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domov a ZŠ Vrbno pod Praděd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75178681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313593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lamovka, Praha 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19779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403777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584378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y na Orlic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36395732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OZP Dolní Poustev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581993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30776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DPSROŽNOV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8492091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CHL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1386017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Rybnič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7611910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Rybnič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3199489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7223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20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051"/>
              </p:ext>
            </p:extLst>
          </p:nvPr>
        </p:nvGraphicFramePr>
        <p:xfrm>
          <a:off x="1372685" y="1228724"/>
          <a:ext cx="9684753" cy="486681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3259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mku Lysá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é centrum komplexní péče Benátky n. J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Lamper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itkov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Lid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2B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řebíč DpS Kout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TOPAS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ouse Vac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3B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eniorů Měl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JASENKA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Třebešín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TEKVIZOVICE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ěžní Kadaň_březen 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21729014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3423867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lat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724314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72275993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ílokostelecká, Chrast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5654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1. 3. – 9. 4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4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630310"/>
              </p:ext>
            </p:extLst>
          </p:nvPr>
        </p:nvGraphicFramePr>
        <p:xfrm>
          <a:off x="1372685" y="1209674"/>
          <a:ext cx="9684753" cy="504673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6525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entura Naděje, Bechlejovice 7, Děčín XXV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elhřimov, Radětínská 2305,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Jindřichovice pod Smrkem  Vila Roz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Vinnou horou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Libo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movy Na Třešňov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KAROLINKA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2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Břecla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19340949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leška- Kamenice, Stará Oleška č. ev. 131, Huntíř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97777243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ní Strop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6646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3586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00 nakažených klientů a více než 21 100 nakažených pracovníků. Hlášení o úmrtích COVID pozitivních klientů přesáhlo 3 500, pracovníků zemřelo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66327"/>
            <a:ext cx="1168747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8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 pobytových sociálních služeb. Počet hlášených úmrtí klientů dosáhnul v listopadu hodnoty 1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čkoli šlo o výrazný nárůst, stále se jednalo o počty významně nižší než v zimních až jarních měsících 2021. Za prosinec bylo na bázi přímého hlášení od poskytovatelů sociálních služeb registrováno 5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personálu a 4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klientů. Celkem 69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685753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046" y="5155434"/>
            <a:ext cx="1157858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nahlášeno 1051 případů nákazy personálu a 434 klientů, z nichž 30 zemřelo, v únoru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86 nákaz pracovníků a 1086 nákaz klientů, z nichž 67 zemřelo, v březnu 667 případů nákazy personálu a 560 klientů, z nichž 52 zemřelo a v dubnu k 9. 4. 76 případů nákazy personálu a 94 klientů, z nichž 2 zemřeli. Počty případů s těžkým průběhem nákazy, zejména vyžadujícím hospitalizaci, zůstávají nízké, 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41185996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3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6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bylo v databázi MPSV vedeno 4 438 zařízení  s 77 547 klienty a 102 575 pracovníky (Tyto údaje nejsou u všech zařízení zadány). Z tohoto počtu jich zadává do sociálního modulu ISIN 1726 zařízení. Z hlediska osob je pokrytí 81,9%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03037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0277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8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7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5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9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0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48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85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93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0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8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93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4. 2022</a:t>
            </a:r>
          </a:p>
        </p:txBody>
      </p:sp>
    </p:spTree>
    <p:extLst>
      <p:ext uri="{BB962C8B-B14F-4D97-AF65-F5344CB8AC3E}">
        <p14:creationId xmlns:p14="http://schemas.microsoft.com/office/powerpoint/2010/main" val="25387637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5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4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9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872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4. 2022</a:t>
            </a:r>
          </a:p>
        </p:txBody>
      </p:sp>
    </p:spTree>
    <p:extLst>
      <p:ext uri="{BB962C8B-B14F-4D97-AF65-F5344CB8AC3E}">
        <p14:creationId xmlns:p14="http://schemas.microsoft.com/office/powerpoint/2010/main" val="36955424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4. 2022</a:t>
            </a:r>
          </a:p>
        </p:txBody>
      </p:sp>
    </p:spTree>
    <p:extLst>
      <p:ext uri="{BB962C8B-B14F-4D97-AF65-F5344CB8AC3E}">
        <p14:creationId xmlns:p14="http://schemas.microsoft.com/office/powerpoint/2010/main" val="38043726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4. 2022</a:t>
            </a:r>
          </a:p>
        </p:txBody>
      </p:sp>
    </p:spTree>
    <p:extLst>
      <p:ext uri="{BB962C8B-B14F-4D97-AF65-F5344CB8AC3E}">
        <p14:creationId xmlns:p14="http://schemas.microsoft.com/office/powerpoint/2010/main" val="3387715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347213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40622225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27988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1144575"/>
            <a:ext cx="1132702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je hlášeno 34 událostí se 728 nakaženými, za únor je dosud nahlášeno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77 událostí s 1 895 nakaženými, za březen 36 události s 649 nakaženými a za duben 4 události se 67 nekaženými (stav k 9. 4.). V současnosti tedy registrujeme pokles počtu nákaz po předchozím nárůstu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86398" y="5668316"/>
            <a:ext cx="1319062" cy="545849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28102" y="951384"/>
          <a:ext cx="12152440" cy="5906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88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01560235"/>
                    </a:ext>
                  </a:extLst>
                </a:gridCol>
                <a:gridCol w="307730">
                  <a:extLst>
                    <a:ext uri="{9D8B030D-6E8A-4147-A177-3AD203B41FA5}">
                      <a16:colId xmlns:a16="http://schemas.microsoft.com/office/drawing/2014/main" val="1874325632"/>
                    </a:ext>
                  </a:extLst>
                </a:gridCol>
                <a:gridCol w="276997">
                  <a:extLst>
                    <a:ext uri="{9D8B030D-6E8A-4147-A177-3AD203B41FA5}">
                      <a16:colId xmlns:a16="http://schemas.microsoft.com/office/drawing/2014/main" val="228903734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821206977"/>
                    </a:ext>
                  </a:extLst>
                </a:gridCol>
                <a:gridCol w="282463">
                  <a:extLst>
                    <a:ext uri="{9D8B030D-6E8A-4147-A177-3AD203B41FA5}">
                      <a16:colId xmlns:a16="http://schemas.microsoft.com/office/drawing/2014/main" val="782379785"/>
                    </a:ext>
                  </a:extLst>
                </a:gridCol>
                <a:gridCol w="302264">
                  <a:extLst>
                    <a:ext uri="{9D8B030D-6E8A-4147-A177-3AD203B41FA5}">
                      <a16:colId xmlns:a16="http://schemas.microsoft.com/office/drawing/2014/main" val="3909145465"/>
                    </a:ext>
                  </a:extLst>
                </a:gridCol>
              </a:tblGrid>
              <a:tr h="631220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uben 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9. 4. 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32221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40904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40904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58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01394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7" y="934057"/>
          <a:ext cx="11671989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5374475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9789" y="988368"/>
          <a:ext cx="12152442" cy="56701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88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5138271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81640507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380247738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4483140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4093266905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78448109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77334487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478072235"/>
                    </a:ext>
                  </a:extLst>
                </a:gridCol>
              </a:tblGrid>
              <a:tr h="60889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  <a:b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uben 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9. 4. 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20473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45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30280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45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1788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03697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8874701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7513841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EDFA0E5-BE1E-4EBF-B298-5B8AEACE48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5169235"/>
              </p:ext>
            </p:extLst>
          </p:nvPr>
        </p:nvGraphicFramePr>
        <p:xfrm>
          <a:off x="1003186" y="5723958"/>
          <a:ext cx="10940900" cy="731518"/>
        </p:xfrm>
        <a:graphic>
          <a:graphicData uri="http://schemas.openxmlformats.org/drawingml/2006/table">
            <a:tbl>
              <a:tblPr/>
              <a:tblGrid>
                <a:gridCol w="109409">
                  <a:extLst>
                    <a:ext uri="{9D8B030D-6E8A-4147-A177-3AD203B41FA5}">
                      <a16:colId xmlns:a16="http://schemas.microsoft.com/office/drawing/2014/main" val="376857906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09114088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66190373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45240289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1553731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3380956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74806994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97735227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06869250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0908289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45954560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56329967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92090798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31741215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90663305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00717755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07055942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0771961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42394178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98401255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79563633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15668347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9095170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8335480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56610094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4948373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5824957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52895748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25461711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51948496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75252938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98839858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512861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37338963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24554622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6911248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64564456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92585454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0061159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94219639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8952938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08754208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19303772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36097905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6631871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17129005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85814510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17062309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6593566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03124203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56859375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01458697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7930299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42036573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7658655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36232855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7573826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4864410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67316197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6989486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8241059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91635553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4446903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89099458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62783988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66838665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2681317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23444923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63080054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77776735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1052726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68171750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77362839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04214555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73380459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66751995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3626439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88615322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85488451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43255511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9191610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0390528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72803717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97431119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04707888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0607871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1328942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9684822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26711573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96279690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54088436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5778849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3767684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0375515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4382621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06501102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04845885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03701646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87196444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386695059"/>
                    </a:ext>
                  </a:extLst>
                </a:gridCol>
              </a:tblGrid>
              <a:tr h="365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8472854"/>
                  </a:ext>
                </a:extLst>
              </a:tr>
              <a:tr h="365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8846085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4155340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9. 4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62791" y="5030627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7C14C90-271B-41F5-8DE4-F8C6C17C15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6990815"/>
              </p:ext>
            </p:extLst>
          </p:nvPr>
        </p:nvGraphicFramePr>
        <p:xfrm>
          <a:off x="7428032" y="5734931"/>
          <a:ext cx="4565592" cy="731520"/>
        </p:xfrm>
        <a:graphic>
          <a:graphicData uri="http://schemas.openxmlformats.org/drawingml/2006/table">
            <a:tbl>
              <a:tblPr/>
              <a:tblGrid>
                <a:gridCol w="190233">
                  <a:extLst>
                    <a:ext uri="{9D8B030D-6E8A-4147-A177-3AD203B41FA5}">
                      <a16:colId xmlns:a16="http://schemas.microsoft.com/office/drawing/2014/main" val="736607738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50671958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4811476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982495929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580097867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426662163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72772024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13627245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57830852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623111069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41786474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88862401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423856969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85641356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834598251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624041171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68793869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93286967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37397126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9127316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4077699454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676403448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93036952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29983129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97908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114330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546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9. 4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4141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0809704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4/2022 k 9. 4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619445" y="5534255"/>
            <a:ext cx="4956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9. 4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876372"/>
              </p:ext>
            </p:extLst>
          </p:nvPr>
        </p:nvGraphicFramePr>
        <p:xfrm>
          <a:off x="123825" y="1044216"/>
          <a:ext cx="6483886" cy="5425011"/>
        </p:xfrm>
        <a:graphic>
          <a:graphicData uri="http://schemas.openxmlformats.org/drawingml/2006/table">
            <a:tbl>
              <a:tblPr/>
              <a:tblGrid>
                <a:gridCol w="492366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33585517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804655378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557990762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61047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událostí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2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9. 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1055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8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5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9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C966497-4318-40A1-B958-D414E63B22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080827"/>
              </p:ext>
            </p:extLst>
          </p:nvPr>
        </p:nvGraphicFramePr>
        <p:xfrm>
          <a:off x="7428032" y="1264212"/>
          <a:ext cx="4565592" cy="444739"/>
        </p:xfrm>
        <a:graphic>
          <a:graphicData uri="http://schemas.openxmlformats.org/drawingml/2006/table">
            <a:tbl>
              <a:tblPr/>
              <a:tblGrid>
                <a:gridCol w="190233">
                  <a:extLst>
                    <a:ext uri="{9D8B030D-6E8A-4147-A177-3AD203B41FA5}">
                      <a16:colId xmlns:a16="http://schemas.microsoft.com/office/drawing/2014/main" val="363098728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988847386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821620297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054194258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90918757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153102030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4132856084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900267707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40219735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51552146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327040406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443143681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53396913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83822300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16962020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59814847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673261727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17347130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27797676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094462741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10635671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153773904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22486008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354568877"/>
                    </a:ext>
                  </a:extLst>
                </a:gridCol>
              </a:tblGrid>
              <a:tr h="78979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2641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1983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AB18C71-1867-49C2-8565-4F6CE7E0ED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338120"/>
              </p:ext>
            </p:extLst>
          </p:nvPr>
        </p:nvGraphicFramePr>
        <p:xfrm>
          <a:off x="8713426" y="911227"/>
          <a:ext cx="849674" cy="5605294"/>
        </p:xfrm>
        <a:graphic>
          <a:graphicData uri="http://schemas.openxmlformats.org/drawingml/2006/table">
            <a:tbl>
              <a:tblPr/>
              <a:tblGrid>
                <a:gridCol w="849674">
                  <a:extLst>
                    <a:ext uri="{9D8B030D-6E8A-4147-A177-3AD203B41FA5}">
                      <a16:colId xmlns:a16="http://schemas.microsoft.com/office/drawing/2014/main" val="4140285373"/>
                    </a:ext>
                  </a:extLst>
                </a:gridCol>
              </a:tblGrid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84843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851685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376737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910034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447542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955615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756365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268678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084525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222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621667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271839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6001786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281525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417810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1784967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265462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13500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330948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702755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277558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687730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90824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816243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450188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026179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816508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585025"/>
                  </a:ext>
                </a:extLst>
              </a:tr>
              <a:tr h="19328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4449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4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9297252"/>
              </p:ext>
            </p:extLst>
          </p:nvPr>
        </p:nvGraphicFramePr>
        <p:xfrm>
          <a:off x="1093233" y="695325"/>
          <a:ext cx="8958646" cy="582120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35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3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 8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7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337081"/>
                  </a:ext>
                </a:extLst>
              </a:tr>
              <a:tr h="19302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84CBF44-09C1-4104-896C-F04BC12F4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33361"/>
              </p:ext>
            </p:extLst>
          </p:nvPr>
        </p:nvGraphicFramePr>
        <p:xfrm>
          <a:off x="8704851" y="1092199"/>
          <a:ext cx="905873" cy="5424328"/>
        </p:xfrm>
        <a:graphic>
          <a:graphicData uri="http://schemas.openxmlformats.org/drawingml/2006/table">
            <a:tbl>
              <a:tblPr/>
              <a:tblGrid>
                <a:gridCol w="905873">
                  <a:extLst>
                    <a:ext uri="{9D8B030D-6E8A-4147-A177-3AD203B41FA5}">
                      <a16:colId xmlns:a16="http://schemas.microsoft.com/office/drawing/2014/main" val="1283906979"/>
                    </a:ext>
                  </a:extLst>
                </a:gridCol>
              </a:tblGrid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562302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05255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2667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71332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397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08745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60287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0945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45571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1943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0614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7550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0300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55778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36108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49604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3137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39880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40578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56918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36557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25686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31919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5992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67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34816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11524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98241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4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507836"/>
              </p:ext>
            </p:extLst>
          </p:nvPr>
        </p:nvGraphicFramePr>
        <p:xfrm>
          <a:off x="1104900" y="660914"/>
          <a:ext cx="8958646" cy="5856009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3584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758 (1 65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63 (7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139 (10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97 (2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 142 (48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03 (2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95 (90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66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83 (12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31424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8EACD34-87EE-4F3C-A456-66279421AF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982047"/>
              </p:ext>
            </p:extLst>
          </p:nvPr>
        </p:nvGraphicFramePr>
        <p:xfrm>
          <a:off x="7349382" y="5543020"/>
          <a:ext cx="4568088" cy="853440"/>
        </p:xfrm>
        <a:graphic>
          <a:graphicData uri="http://schemas.openxmlformats.org/drawingml/2006/table">
            <a:tbl>
              <a:tblPr/>
              <a:tblGrid>
                <a:gridCol w="761348">
                  <a:extLst>
                    <a:ext uri="{9D8B030D-6E8A-4147-A177-3AD203B41FA5}">
                      <a16:colId xmlns:a16="http://schemas.microsoft.com/office/drawing/2014/main" val="188258750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766418493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396325399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410380965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38984956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4063261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02683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76604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459739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5925032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4198634-9DE1-4ABE-ABE2-EBA382E34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4651535"/>
              </p:ext>
            </p:extLst>
          </p:nvPr>
        </p:nvGraphicFramePr>
        <p:xfrm>
          <a:off x="7362822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41532877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37150316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58226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822866413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6910644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100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41038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2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274595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6970427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63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974</TotalTime>
  <Words>18116</Words>
  <Application>Microsoft Office PowerPoint</Application>
  <PresentationFormat>Širokoúhlá obrazovka</PresentationFormat>
  <Paragraphs>7731</Paragraphs>
  <Slides>67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67</vt:i4>
      </vt:variant>
    </vt:vector>
  </HeadingPairs>
  <TitlesOfParts>
    <vt:vector size="71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užík Jan RNDr. Ph.D.</cp:lastModifiedBy>
  <cp:revision>657</cp:revision>
  <dcterms:created xsi:type="dcterms:W3CDTF">2020-11-14T10:09:00Z</dcterms:created>
  <dcterms:modified xsi:type="dcterms:W3CDTF">2022-04-10T08:58:13Z</dcterms:modified>
</cp:coreProperties>
</file>